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heme/theme10.xml" ContentType="application/vnd.openxmlformats-officedocument.theme+xml"/>
  <Override PartName="/ppt/tags/tag3.xml" ContentType="application/vnd.openxmlformats-officedocument.presentationml.tags+xml"/>
  <Override PartName="/ppt/theme/theme11.xml" ContentType="application/vnd.openxmlformats-officedocument.theme+xml"/>
  <Override PartName="/ppt/tags/tag4.xml" ContentType="application/vnd.openxmlformats-officedocument.presentationml.tags+xml"/>
  <Override PartName="/ppt/theme/theme12.xml" ContentType="application/vnd.openxmlformats-officedocument.theme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ags/tag6.xml" ContentType="application/vnd.openxmlformats-officedocument.presentationml.tags+xml"/>
  <Override PartName="/ppt/theme/theme14.xml" ContentType="application/vnd.openxmlformats-officedocument.theme+xml"/>
  <Override PartName="/ppt/tags/tag7.xml" ContentType="application/vnd.openxmlformats-officedocument.presentationml.tags+xml"/>
  <Override PartName="/ppt/theme/theme15.xml" ContentType="application/vnd.openxmlformats-officedocument.theme+xml"/>
  <Override PartName="/ppt/tags/tag8.xml" ContentType="application/vnd.openxmlformats-officedocument.presentationml.tags+xml"/>
  <Override PartName="/ppt/theme/theme16.xml" ContentType="application/vnd.openxmlformats-officedocument.theme+xml"/>
  <Override PartName="/ppt/tags/tag9.xml" ContentType="application/vnd.openxmlformats-officedocument.presentationml.tags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6" r:id="rId1"/>
    <p:sldMasterId id="2147483769" r:id="rId2"/>
    <p:sldMasterId id="2147483772" r:id="rId3"/>
    <p:sldMasterId id="2147483794" r:id="rId4"/>
    <p:sldMasterId id="2147483803" r:id="rId5"/>
    <p:sldMasterId id="2147483811" r:id="rId6"/>
    <p:sldMasterId id="2147483780" r:id="rId7"/>
    <p:sldMasterId id="2147483822" r:id="rId8"/>
    <p:sldMasterId id="2147483824" r:id="rId9"/>
    <p:sldMasterId id="2147483827" r:id="rId10"/>
    <p:sldMasterId id="2147483829" r:id="rId11"/>
    <p:sldMasterId id="2147483831" r:id="rId12"/>
    <p:sldMasterId id="2147483833" r:id="rId13"/>
    <p:sldMasterId id="2147483835" r:id="rId14"/>
    <p:sldMasterId id="2147483838" r:id="rId15"/>
    <p:sldMasterId id="2147483840" r:id="rId16"/>
  </p:sldMasterIdLst>
  <p:notesMasterIdLst>
    <p:notesMasterId r:id="rId26"/>
  </p:notesMasterIdLst>
  <p:handoutMasterIdLst>
    <p:handoutMasterId r:id="rId27"/>
  </p:handoutMasterIdLst>
  <p:sldIdLst>
    <p:sldId id="264" r:id="rId17"/>
    <p:sldId id="293" r:id="rId18"/>
    <p:sldId id="305" r:id="rId19"/>
    <p:sldId id="295" r:id="rId20"/>
    <p:sldId id="296" r:id="rId21"/>
    <p:sldId id="298" r:id="rId22"/>
    <p:sldId id="303" r:id="rId23"/>
    <p:sldId id="302" r:id="rId24"/>
    <p:sldId id="277" r:id="rId25"/>
  </p:sldIdLst>
  <p:sldSz cx="9144000" cy="514826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61" userDrawn="1">
          <p15:clr>
            <a:srgbClr val="A4A3A4"/>
          </p15:clr>
        </p15:guide>
        <p15:guide id="2" pos="340" userDrawn="1">
          <p15:clr>
            <a:srgbClr val="A4A3A4"/>
          </p15:clr>
        </p15:guide>
        <p15:guide id="3" orient="horz" pos="3028" userDrawn="1">
          <p15:clr>
            <a:srgbClr val="A4A3A4"/>
          </p15:clr>
        </p15:guide>
        <p15:guide id="4" pos="5511" userDrawn="1">
          <p15:clr>
            <a:srgbClr val="A4A3A4"/>
          </p15:clr>
        </p15:guide>
        <p15:guide id="5" orient="horz" pos="442" userDrawn="1">
          <p15:clr>
            <a:srgbClr val="A4A3A4"/>
          </p15:clr>
        </p15:guide>
        <p15:guide id="6" orient="horz" pos="2982" userDrawn="1">
          <p15:clr>
            <a:srgbClr val="A4A3A4"/>
          </p15:clr>
        </p15:guide>
        <p15:guide id="7" orient="horz" pos="930">
          <p15:clr>
            <a:srgbClr val="A4A3A4"/>
          </p15:clr>
        </p15:guide>
        <p15:guide id="8" orient="horz" pos="1337">
          <p15:clr>
            <a:srgbClr val="A4A3A4"/>
          </p15:clr>
        </p15:guide>
        <p15:guide id="9" orient="horz" pos="2086">
          <p15:clr>
            <a:srgbClr val="A4A3A4"/>
          </p15:clr>
        </p15:guide>
        <p15:guide id="10" orient="horz" pos="714" userDrawn="1">
          <p15:clr>
            <a:srgbClr val="A4A3A4"/>
          </p15:clr>
        </p15:guide>
        <p15:guide id="11" orient="horz" pos="435">
          <p15:clr>
            <a:srgbClr val="A4A3A4"/>
          </p15:clr>
        </p15:guide>
        <p15:guide id="12" orient="horz" pos="228">
          <p15:clr>
            <a:srgbClr val="A4A3A4"/>
          </p15:clr>
        </p15:guide>
        <p15:guide id="13" pos="2313" userDrawn="1">
          <p15:clr>
            <a:srgbClr val="A4A3A4"/>
          </p15:clr>
        </p15:guide>
        <p15:guide id="14" pos="726">
          <p15:clr>
            <a:srgbClr val="A4A3A4"/>
          </p15:clr>
        </p15:guide>
        <p15:guide id="15" pos="862" userDrawn="1">
          <p15:clr>
            <a:srgbClr val="A4A3A4"/>
          </p15:clr>
        </p15:guide>
        <p15:guide id="16" pos="1260">
          <p15:clr>
            <a:srgbClr val="A4A3A4"/>
          </p15:clr>
        </p15:guide>
        <p15:guide id="17" pos="1406" userDrawn="1">
          <p15:clr>
            <a:srgbClr val="A4A3A4"/>
          </p15:clr>
        </p15:guide>
        <p15:guide id="18" pos="1791" userDrawn="1">
          <p15:clr>
            <a:srgbClr val="A4A3A4"/>
          </p15:clr>
        </p15:guide>
        <p15:guide id="19" pos="2132" userDrawn="1">
          <p15:clr>
            <a:srgbClr val="A4A3A4"/>
          </p15:clr>
        </p15:guide>
        <p15:guide id="20" pos="2481">
          <p15:clr>
            <a:srgbClr val="A4A3A4"/>
          </p15:clr>
        </p15:guide>
        <p15:guide id="21" pos="2880" userDrawn="1">
          <p15:clr>
            <a:srgbClr val="A4A3A4"/>
          </p15:clr>
        </p15:guide>
        <p15:guide id="22" pos="3029">
          <p15:clr>
            <a:srgbClr val="A4A3A4"/>
          </p15:clr>
        </p15:guide>
        <p15:guide id="23" pos="3402">
          <p15:clr>
            <a:srgbClr val="A4A3A4"/>
          </p15:clr>
        </p15:guide>
        <p15:guide id="24" pos="3552">
          <p15:clr>
            <a:srgbClr val="A4A3A4"/>
          </p15:clr>
        </p15:guide>
        <p15:guide id="25" pos="3938">
          <p15:clr>
            <a:srgbClr val="A4A3A4"/>
          </p15:clr>
        </p15:guide>
        <p15:guide id="26" pos="4086">
          <p15:clr>
            <a:srgbClr val="A4A3A4"/>
          </p15:clr>
        </p15:guide>
        <p15:guide id="27" pos="4468" userDrawn="1">
          <p15:clr>
            <a:srgbClr val="A4A3A4"/>
          </p15:clr>
        </p15:guide>
        <p15:guide id="28" pos="4621">
          <p15:clr>
            <a:srgbClr val="A4A3A4"/>
          </p15:clr>
        </p15:guide>
        <p15:guide id="29" pos="5012" userDrawn="1">
          <p15:clr>
            <a:srgbClr val="A4A3A4"/>
          </p15:clr>
        </p15:guide>
        <p15:guide id="30" pos="5157">
          <p15:clr>
            <a:srgbClr val="A4A3A4"/>
          </p15:clr>
        </p15:guide>
        <p15:guide id="31" pos="5759">
          <p15:clr>
            <a:srgbClr val="A4A3A4"/>
          </p15:clr>
        </p15:guide>
        <p15:guide id="32" pos="48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Титова Наталья Васильевна" initials="ТНВ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333333"/>
    <a:srgbClr val="2121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35" autoAdjust="0"/>
    <p:restoredTop sz="86419" autoAdjust="0"/>
  </p:normalViewPr>
  <p:slideViewPr>
    <p:cSldViewPr snapToGrid="0">
      <p:cViewPr>
        <p:scale>
          <a:sx n="120" d="100"/>
          <a:sy n="120" d="100"/>
        </p:scale>
        <p:origin x="-522" y="-144"/>
      </p:cViewPr>
      <p:guideLst>
        <p:guide orient="horz" pos="261"/>
        <p:guide orient="horz" pos="3028"/>
        <p:guide orient="horz" pos="442"/>
        <p:guide orient="horz" pos="2982"/>
        <p:guide orient="horz" pos="930"/>
        <p:guide orient="horz" pos="1337"/>
        <p:guide orient="horz" pos="2086"/>
        <p:guide orient="horz" pos="714"/>
        <p:guide orient="horz" pos="435"/>
        <p:guide orient="horz" pos="228"/>
        <p:guide pos="340"/>
        <p:guide pos="5511"/>
        <p:guide pos="2313"/>
        <p:guide pos="726"/>
        <p:guide pos="862"/>
        <p:guide pos="1260"/>
        <p:guide pos="1406"/>
        <p:guide pos="1791"/>
        <p:guide pos="2132"/>
        <p:guide pos="2481"/>
        <p:guide pos="2880"/>
        <p:guide pos="3029"/>
        <p:guide pos="3402"/>
        <p:guide pos="3552"/>
        <p:guide pos="3938"/>
        <p:guide pos="4086"/>
        <p:guide pos="4468"/>
        <p:guide pos="4621"/>
        <p:guide pos="5012"/>
        <p:guide pos="5157"/>
        <p:guide pos="5759"/>
        <p:guide pos="48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72" d="100"/>
          <a:sy n="172" d="100"/>
        </p:scale>
        <p:origin x="6552" y="208"/>
      </p:cViewPr>
      <p:guideLst>
        <p:guide orient="horz" pos="2880"/>
        <p:guide pos="2160"/>
      </p:guideLst>
    </p:cSldViewPr>
  </p:notesViewPr>
  <p:gridSpacing cx="1080136" cy="1080136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5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4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86DCCD-FB14-4FA8-B1C2-D065E82645DF}" type="datetimeFigureOut">
              <a:rPr lang="ru-RU" smtClean="0"/>
              <a:pPr/>
              <a:t>23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D96E1-DF61-4A53-9932-3DFD8899BB9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0548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84D8A-822D-488E-8D1C-8C90CBE022BE}" type="datetimeFigureOut">
              <a:rPr lang="ru-RU" smtClean="0"/>
              <a:pPr/>
              <a:t>23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4175" y="685800"/>
            <a:ext cx="60896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70B7F-3432-4DBE-B821-B38A127FB2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2022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32388F-29F7-4860-AADE-CD8D1989A5CC}" type="slidenum">
              <a:rPr lang="uk-UA" smtClean="0"/>
              <a:pPr/>
              <a:t>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765021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32388F-29F7-4860-AADE-CD8D1989A5CC}" type="slidenum">
              <a:rPr lang="uk-UA" smtClean="0"/>
              <a:pPr/>
              <a:t>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29756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/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название площадки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87055625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/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название площадки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3195301734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580613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17635" y="4654888"/>
            <a:ext cx="7847134" cy="31104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788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/>
              <a:t>Примечания</a:t>
            </a:r>
            <a:r>
              <a:rPr lang="ru-RU"/>
              <a:t>, источники</a:t>
            </a:r>
          </a:p>
        </p:txBody>
      </p:sp>
    </p:spTree>
    <p:extLst>
      <p:ext uri="{BB962C8B-B14F-4D97-AF65-F5344CB8AC3E}">
        <p14:creationId xmlns:p14="http://schemas.microsoft.com/office/powerpoint/2010/main" val="1077662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476375"/>
            <a:ext cx="4860925" cy="1274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80"/>
              </a:lnSpc>
              <a:spcBef>
                <a:spcPts val="0"/>
              </a:spcBef>
              <a:buFontTx/>
              <a:buNone/>
              <a:defRPr sz="41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4488543"/>
            <a:ext cx="4860925" cy="22792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3537857"/>
            <a:ext cx="4860925" cy="9463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сновная информация</a:t>
            </a:r>
            <a:endParaRPr lang="ru-RU" dirty="0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308360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ФИО</a:t>
            </a:r>
            <a:endParaRPr lang="ru-RU" dirty="0"/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331152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олжнос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391619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/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название площадки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66414036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837860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17635" y="4654888"/>
            <a:ext cx="7847134" cy="31104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788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/>
              <a:t>Примечания</a:t>
            </a:r>
            <a:r>
              <a:rPr lang="ru-RU"/>
              <a:t>, источники</a:t>
            </a:r>
          </a:p>
        </p:txBody>
      </p:sp>
    </p:spTree>
    <p:extLst>
      <p:ext uri="{BB962C8B-B14F-4D97-AF65-F5344CB8AC3E}">
        <p14:creationId xmlns:p14="http://schemas.microsoft.com/office/powerpoint/2010/main" val="22850033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476375"/>
            <a:ext cx="4860925" cy="1274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80"/>
              </a:lnSpc>
              <a:spcBef>
                <a:spcPts val="0"/>
              </a:spcBef>
              <a:buFontTx/>
              <a:buNone/>
              <a:defRPr sz="41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4488543"/>
            <a:ext cx="4860925" cy="22792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3537857"/>
            <a:ext cx="4860925" cy="9463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сновная информация</a:t>
            </a:r>
            <a:endParaRPr lang="ru-RU" dirty="0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308360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ФИО</a:t>
            </a:r>
            <a:endParaRPr lang="ru-RU" dirty="0"/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331152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олжнос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605299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476375"/>
            <a:ext cx="4014788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8" y="1476375"/>
            <a:ext cx="3940175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есто для указания источников и сносок</a:t>
            </a:r>
            <a:endParaRPr lang="en-US" dirty="0" smtClean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3482975"/>
            <a:ext cx="4014788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4808538" y="3479346"/>
            <a:ext cx="3940174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6454096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50" y="1476375"/>
            <a:ext cx="4014788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 smtClean="0"/>
              <a:t>Контент</a:t>
            </a:r>
            <a:endParaRPr lang="en-US" dirty="0" smtClean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808539" y="1476375"/>
            <a:ext cx="3940174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 smtClean="0"/>
              <a:t>Контент</a:t>
            </a:r>
            <a:endParaRPr lang="en-US" dirty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есто для указания источников и сносок</a:t>
            </a:r>
            <a:endParaRPr lang="en-US" dirty="0" smtClean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476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432421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801228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17635" y="4654888"/>
            <a:ext cx="7847134" cy="31104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788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/>
              <a:t>Примечания</a:t>
            </a:r>
            <a:r>
              <a:rPr lang="ru-RU"/>
              <a:t>, источники</a:t>
            </a:r>
          </a:p>
        </p:txBody>
      </p:sp>
    </p:spTree>
    <p:extLst>
      <p:ext uri="{BB962C8B-B14F-4D97-AF65-F5344CB8AC3E}">
        <p14:creationId xmlns:p14="http://schemas.microsoft.com/office/powerpoint/2010/main" val="11245542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/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название площадки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2794877465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476375"/>
            <a:ext cx="4860925" cy="1274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80"/>
              </a:lnSpc>
              <a:spcBef>
                <a:spcPts val="0"/>
              </a:spcBef>
              <a:buFontTx/>
              <a:buNone/>
              <a:defRPr sz="41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4488543"/>
            <a:ext cx="4860925" cy="22792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3537857"/>
            <a:ext cx="4860925" cy="9463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сновная информация</a:t>
            </a:r>
            <a:endParaRPr lang="ru-RU" dirty="0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308360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ФИО</a:t>
            </a:r>
            <a:endParaRPr lang="ru-RU" dirty="0"/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331152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олжнос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0419326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7" y="1476375"/>
            <a:ext cx="3940175" cy="25078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en-US" sz="7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2458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есто для указания источников и сносок</a:t>
            </a:r>
            <a:endParaRPr lang="en-US" dirty="0" smtClean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/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название площадки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1038834131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889269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17635" y="4654888"/>
            <a:ext cx="7847134" cy="31104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788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/>
              <a:t>Примечания</a:t>
            </a:r>
            <a:r>
              <a:rPr lang="ru-RU"/>
              <a:t>, источники</a:t>
            </a:r>
          </a:p>
        </p:txBody>
      </p:sp>
    </p:spTree>
    <p:extLst>
      <p:ext uri="{BB962C8B-B14F-4D97-AF65-F5344CB8AC3E}">
        <p14:creationId xmlns:p14="http://schemas.microsoft.com/office/powerpoint/2010/main" val="40411782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476375"/>
            <a:ext cx="4860925" cy="1274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80"/>
              </a:lnSpc>
              <a:spcBef>
                <a:spcPts val="0"/>
              </a:spcBef>
              <a:buFontTx/>
              <a:buNone/>
              <a:defRPr sz="41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4488543"/>
            <a:ext cx="4860925" cy="22792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3537857"/>
            <a:ext cx="4860925" cy="9463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сновная информация</a:t>
            </a:r>
            <a:endParaRPr lang="ru-RU" dirty="0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308360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ФИО</a:t>
            </a:r>
            <a:endParaRPr lang="ru-RU" dirty="0"/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331152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олжнос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3185465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476375"/>
            <a:ext cx="4860925" cy="1274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80"/>
              </a:lnSpc>
              <a:spcBef>
                <a:spcPts val="0"/>
              </a:spcBef>
              <a:buFontTx/>
              <a:buNone/>
              <a:defRPr sz="41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4488543"/>
            <a:ext cx="4860925" cy="22792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3537857"/>
            <a:ext cx="4860925" cy="9463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сновная информация</a:t>
            </a:r>
            <a:endParaRPr lang="ru-RU" dirty="0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308360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ФИО</a:t>
            </a:r>
            <a:endParaRPr lang="ru-RU" dirty="0"/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331152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олжнос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0501840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17635" y="4654888"/>
            <a:ext cx="7847134" cy="31104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788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/>
              <a:t>Примечания</a:t>
            </a:r>
            <a:r>
              <a:rPr lang="ru-RU"/>
              <a:t>, источники</a:t>
            </a:r>
          </a:p>
        </p:txBody>
      </p:sp>
    </p:spTree>
    <p:extLst>
      <p:ext uri="{BB962C8B-B14F-4D97-AF65-F5344CB8AC3E}">
        <p14:creationId xmlns:p14="http://schemas.microsoft.com/office/powerpoint/2010/main" val="2290308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/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название площадки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2863960387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42609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17635" y="4654888"/>
            <a:ext cx="7847134" cy="31104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788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/>
              <a:t>Примечания</a:t>
            </a:r>
            <a:r>
              <a:rPr lang="ru-RU"/>
              <a:t>, источники</a:t>
            </a:r>
          </a:p>
        </p:txBody>
      </p:sp>
    </p:spTree>
    <p:extLst>
      <p:ext uri="{BB962C8B-B14F-4D97-AF65-F5344CB8AC3E}">
        <p14:creationId xmlns:p14="http://schemas.microsoft.com/office/powerpoint/2010/main" val="32308876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476375"/>
            <a:ext cx="4860925" cy="1274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80"/>
              </a:lnSpc>
              <a:spcBef>
                <a:spcPts val="0"/>
              </a:spcBef>
              <a:buFontTx/>
              <a:buNone/>
              <a:defRPr sz="41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4488543"/>
            <a:ext cx="4860925" cy="22792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3537857"/>
            <a:ext cx="4860925" cy="9463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сновная информация</a:t>
            </a:r>
            <a:endParaRPr lang="ru-RU" dirty="0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308360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ФИО</a:t>
            </a:r>
            <a:endParaRPr lang="ru-RU" dirty="0"/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331152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олжнос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7510418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674586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lIns="0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17635" y="4654888"/>
            <a:ext cx="7847134" cy="31104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788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/>
              <a:t>Примечания</a:t>
            </a:r>
            <a:r>
              <a:rPr lang="ru-RU"/>
              <a:t>, источники</a:t>
            </a:r>
          </a:p>
        </p:txBody>
      </p:sp>
    </p:spTree>
    <p:extLst>
      <p:ext uri="{BB962C8B-B14F-4D97-AF65-F5344CB8AC3E}">
        <p14:creationId xmlns:p14="http://schemas.microsoft.com/office/powerpoint/2010/main" val="2003047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/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 название площадки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1979640745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476375"/>
            <a:ext cx="4860925" cy="1274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80"/>
              </a:lnSpc>
              <a:spcBef>
                <a:spcPts val="0"/>
              </a:spcBef>
              <a:buFontTx/>
              <a:buNone/>
              <a:defRPr sz="41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4488543"/>
            <a:ext cx="4860925" cy="22792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3537857"/>
            <a:ext cx="4860925" cy="9463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сновная информация</a:t>
            </a:r>
            <a:endParaRPr lang="ru-RU" dirty="0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308360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ФИО</a:t>
            </a:r>
            <a:endParaRPr lang="ru-RU" dirty="0"/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331152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Должнос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9727279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есто для указания источников и сносок</a:t>
            </a:r>
            <a:endParaRPr lang="en-US" dirty="0" smtClean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999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tif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tags" Target="../tags/tag3.xml"/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ags" Target="../tags/tag4.xml"/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2" Type="http://schemas.openxmlformats.org/officeDocument/2006/relationships/tags" Target="../tags/tag5.xml"/><Relationship Id="rId1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2" Type="http://schemas.openxmlformats.org/officeDocument/2006/relationships/tags" Target="../tags/tag6.xml"/><Relationship Id="rId1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2" Type="http://schemas.openxmlformats.org/officeDocument/2006/relationships/tags" Target="../tags/tag8.xml"/><Relationship Id="rId1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2" Type="http://schemas.openxmlformats.org/officeDocument/2006/relationships/tags" Target="../tags/tag9.xml"/><Relationship Id="rId1" Type="http://schemas.openxmlformats.org/officeDocument/2006/relationships/theme" Target="../theme/theme1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.tif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.tiff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iff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3.tif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.png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32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ags" Target="../tags/tag1.xml"/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tags" Target="../tags/tag2.xml"/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3500"/>
            <a:ext cx="9144000" cy="515283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308" y="426580"/>
            <a:ext cx="2473911" cy="740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1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50" r:id="rId2"/>
    <p:sldLayoutId id="2147483851" r:id="rId3"/>
    <p:sldLayoutId id="2147483852" r:id="rId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5083" y="750380"/>
            <a:ext cx="8738918" cy="3432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4978722"/>
            <a:ext cx="9144000" cy="16954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94756" y="4972979"/>
            <a:ext cx="1456636" cy="207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1" dirty="0">
                <a:solidFill>
                  <a:srgbClr val="FFFFFF"/>
                </a:solidFill>
              </a:rPr>
              <a:t>www.rosenergoatom.ru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" y="578567"/>
            <a:ext cx="405082" cy="341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7509284" y="4654482"/>
            <a:ext cx="1418003" cy="314708"/>
          </a:xfrm>
          <a:prstGeom prst="rect">
            <a:avLst/>
          </a:prstGeom>
          <a:noFill/>
        </p:spPr>
        <p:txBody>
          <a:bodyPr vert="horz" lIns="137278" tIns="68639" rIns="137278" bIns="68639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901">
                <a:solidFill>
                  <a:srgbClr val="0070C0"/>
                </a:solidFill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901" dirty="0">
              <a:solidFill>
                <a:srgbClr val="0070C0"/>
              </a:solidFill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5975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6440" rtl="0" eaLnBrk="1" latinLnBrk="0" hangingPunct="1">
        <a:lnSpc>
          <a:spcPct val="90000"/>
        </a:lnSpc>
        <a:spcBef>
          <a:spcPct val="0"/>
        </a:spcBef>
        <a:buNone/>
        <a:defRPr sz="1802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686440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None/>
        <a:defRPr sz="1351" kern="1200">
          <a:solidFill>
            <a:srgbClr val="616767"/>
          </a:solidFill>
          <a:latin typeface="+mn-lt"/>
          <a:ea typeface="+mn-ea"/>
          <a:cs typeface="+mn-cs"/>
        </a:defRPr>
      </a:lvl1pPr>
      <a:lvl2pPr marL="5148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2pPr>
      <a:lvl3pPr marL="8580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3pPr>
      <a:lvl4pPr marL="12012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4pPr>
      <a:lvl5pPr marL="154449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5pPr>
      <a:lvl6pPr marL="188771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309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41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73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85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5978">
          <p15:clr>
            <a:srgbClr val="F26B43"/>
          </p15:clr>
        </p15:guide>
        <p15:guide id="4" pos="3120">
          <p15:clr>
            <a:srgbClr val="F26B43"/>
          </p15:clr>
        </p15:guide>
        <p15:guide id="5" orient="horz" pos="3906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5083" y="750380"/>
            <a:ext cx="8738918" cy="3432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4978722"/>
            <a:ext cx="9144000" cy="16954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94756" y="4972979"/>
            <a:ext cx="1456636" cy="207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1" dirty="0">
                <a:solidFill>
                  <a:srgbClr val="FFFFFF"/>
                </a:solidFill>
              </a:rPr>
              <a:t>www.rosenergoatom.ru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" y="578567"/>
            <a:ext cx="405082" cy="341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7509284" y="4654482"/>
            <a:ext cx="1418003" cy="314708"/>
          </a:xfrm>
          <a:prstGeom prst="rect">
            <a:avLst/>
          </a:prstGeom>
          <a:noFill/>
        </p:spPr>
        <p:txBody>
          <a:bodyPr vert="horz" lIns="137278" tIns="68639" rIns="137278" bIns="68639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901">
                <a:solidFill>
                  <a:srgbClr val="0070C0"/>
                </a:solidFill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901" dirty="0">
              <a:solidFill>
                <a:srgbClr val="0070C0"/>
              </a:solidFill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73122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6440" rtl="0" eaLnBrk="1" latinLnBrk="0" hangingPunct="1">
        <a:lnSpc>
          <a:spcPct val="90000"/>
        </a:lnSpc>
        <a:spcBef>
          <a:spcPct val="0"/>
        </a:spcBef>
        <a:buNone/>
        <a:defRPr sz="1802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686440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None/>
        <a:defRPr sz="1351" kern="1200">
          <a:solidFill>
            <a:srgbClr val="616767"/>
          </a:solidFill>
          <a:latin typeface="+mn-lt"/>
          <a:ea typeface="+mn-ea"/>
          <a:cs typeface="+mn-cs"/>
        </a:defRPr>
      </a:lvl1pPr>
      <a:lvl2pPr marL="5148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2pPr>
      <a:lvl3pPr marL="8580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3pPr>
      <a:lvl4pPr marL="12012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4pPr>
      <a:lvl5pPr marL="154449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5pPr>
      <a:lvl6pPr marL="188771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309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41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73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85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5978">
          <p15:clr>
            <a:srgbClr val="F26B43"/>
          </p15:clr>
        </p15:guide>
        <p15:guide id="4" pos="3120">
          <p15:clr>
            <a:srgbClr val="F26B43"/>
          </p15:clr>
        </p15:guide>
        <p15:guide id="5" orient="horz" pos="3906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5083" y="750380"/>
            <a:ext cx="8738918" cy="3432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4978722"/>
            <a:ext cx="9144000" cy="16954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94756" y="4972979"/>
            <a:ext cx="1456636" cy="207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1" dirty="0">
                <a:solidFill>
                  <a:srgbClr val="FFFFFF"/>
                </a:solidFill>
              </a:rPr>
              <a:t>www.rosenergoatom.ru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" y="578567"/>
            <a:ext cx="405082" cy="341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7509284" y="4654482"/>
            <a:ext cx="1418003" cy="314708"/>
          </a:xfrm>
          <a:prstGeom prst="rect">
            <a:avLst/>
          </a:prstGeom>
          <a:noFill/>
        </p:spPr>
        <p:txBody>
          <a:bodyPr vert="horz" lIns="137278" tIns="68639" rIns="137278" bIns="68639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901">
                <a:solidFill>
                  <a:srgbClr val="0070C0"/>
                </a:solidFill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901" dirty="0">
              <a:solidFill>
                <a:srgbClr val="0070C0"/>
              </a:solidFill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240262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6440" rtl="0" eaLnBrk="1" latinLnBrk="0" hangingPunct="1">
        <a:lnSpc>
          <a:spcPct val="90000"/>
        </a:lnSpc>
        <a:spcBef>
          <a:spcPct val="0"/>
        </a:spcBef>
        <a:buNone/>
        <a:defRPr sz="1802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686440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None/>
        <a:defRPr sz="1351" kern="1200">
          <a:solidFill>
            <a:srgbClr val="616767"/>
          </a:solidFill>
          <a:latin typeface="+mn-lt"/>
          <a:ea typeface="+mn-ea"/>
          <a:cs typeface="+mn-cs"/>
        </a:defRPr>
      </a:lvl1pPr>
      <a:lvl2pPr marL="5148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2pPr>
      <a:lvl3pPr marL="8580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3pPr>
      <a:lvl4pPr marL="12012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4pPr>
      <a:lvl5pPr marL="154449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5pPr>
      <a:lvl6pPr marL="188771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309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41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73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85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5978">
          <p15:clr>
            <a:srgbClr val="F26B43"/>
          </p15:clr>
        </p15:guide>
        <p15:guide id="4" pos="3120">
          <p15:clr>
            <a:srgbClr val="F26B43"/>
          </p15:clr>
        </p15:guide>
        <p15:guide id="5" orient="horz" pos="3906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5083" y="750380"/>
            <a:ext cx="8738918" cy="3432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4978722"/>
            <a:ext cx="9144000" cy="16954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94756" y="4972979"/>
            <a:ext cx="1456636" cy="207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1" dirty="0">
                <a:solidFill>
                  <a:srgbClr val="FFFFFF"/>
                </a:solidFill>
              </a:rPr>
              <a:t>www.rosenergoatom.ru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" y="578567"/>
            <a:ext cx="405082" cy="341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7509284" y="4654482"/>
            <a:ext cx="1418003" cy="314708"/>
          </a:xfrm>
          <a:prstGeom prst="rect">
            <a:avLst/>
          </a:prstGeom>
          <a:noFill/>
        </p:spPr>
        <p:txBody>
          <a:bodyPr vert="horz" lIns="137278" tIns="68639" rIns="137278" bIns="68639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901">
                <a:solidFill>
                  <a:srgbClr val="0070C0"/>
                </a:solidFill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901" dirty="0">
              <a:solidFill>
                <a:srgbClr val="0070C0"/>
              </a:solidFill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100714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6440" rtl="0" eaLnBrk="1" latinLnBrk="0" hangingPunct="1">
        <a:lnSpc>
          <a:spcPct val="90000"/>
        </a:lnSpc>
        <a:spcBef>
          <a:spcPct val="0"/>
        </a:spcBef>
        <a:buNone/>
        <a:defRPr sz="1802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686440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None/>
        <a:defRPr sz="1351" kern="1200">
          <a:solidFill>
            <a:srgbClr val="616767"/>
          </a:solidFill>
          <a:latin typeface="+mn-lt"/>
          <a:ea typeface="+mn-ea"/>
          <a:cs typeface="+mn-cs"/>
        </a:defRPr>
      </a:lvl1pPr>
      <a:lvl2pPr marL="5148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2pPr>
      <a:lvl3pPr marL="8580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3pPr>
      <a:lvl4pPr marL="12012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4pPr>
      <a:lvl5pPr marL="154449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5pPr>
      <a:lvl6pPr marL="188771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309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41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73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85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5978">
          <p15:clr>
            <a:srgbClr val="F26B43"/>
          </p15:clr>
        </p15:guide>
        <p15:guide id="4" pos="3120">
          <p15:clr>
            <a:srgbClr val="F26B43"/>
          </p15:clr>
        </p15:guide>
        <p15:guide id="5" orient="horz" pos="3906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5083" y="750380"/>
            <a:ext cx="8738918" cy="3432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4978722"/>
            <a:ext cx="9144000" cy="16954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94756" y="4972979"/>
            <a:ext cx="1456636" cy="207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1" dirty="0">
                <a:solidFill>
                  <a:srgbClr val="FFFFFF"/>
                </a:solidFill>
              </a:rPr>
              <a:t>www.rosenergoatom.ru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" y="578567"/>
            <a:ext cx="405082" cy="341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7509284" y="4654482"/>
            <a:ext cx="1418003" cy="314708"/>
          </a:xfrm>
          <a:prstGeom prst="rect">
            <a:avLst/>
          </a:prstGeom>
          <a:noFill/>
        </p:spPr>
        <p:txBody>
          <a:bodyPr vert="horz" lIns="137278" tIns="68639" rIns="137278" bIns="68639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901">
                <a:solidFill>
                  <a:srgbClr val="0070C0"/>
                </a:solidFill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901" dirty="0">
              <a:solidFill>
                <a:srgbClr val="0070C0"/>
              </a:solidFill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455002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6440" rtl="0" eaLnBrk="1" latinLnBrk="0" hangingPunct="1">
        <a:lnSpc>
          <a:spcPct val="90000"/>
        </a:lnSpc>
        <a:spcBef>
          <a:spcPct val="0"/>
        </a:spcBef>
        <a:buNone/>
        <a:defRPr sz="1802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686440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None/>
        <a:defRPr sz="1351" kern="1200">
          <a:solidFill>
            <a:srgbClr val="616767"/>
          </a:solidFill>
          <a:latin typeface="+mn-lt"/>
          <a:ea typeface="+mn-ea"/>
          <a:cs typeface="+mn-cs"/>
        </a:defRPr>
      </a:lvl1pPr>
      <a:lvl2pPr marL="5148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2pPr>
      <a:lvl3pPr marL="8580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3pPr>
      <a:lvl4pPr marL="12012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4pPr>
      <a:lvl5pPr marL="154449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5pPr>
      <a:lvl6pPr marL="188771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309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41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73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85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5978">
          <p15:clr>
            <a:srgbClr val="F26B43"/>
          </p15:clr>
        </p15:guide>
        <p15:guide id="4" pos="3120">
          <p15:clr>
            <a:srgbClr val="F26B43"/>
          </p15:clr>
        </p15:guide>
        <p15:guide id="5" orient="horz" pos="3906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5083" y="750380"/>
            <a:ext cx="8738918" cy="3432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4978722"/>
            <a:ext cx="9144000" cy="16954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94756" y="4972979"/>
            <a:ext cx="1456636" cy="207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1" dirty="0">
                <a:solidFill>
                  <a:srgbClr val="FFFFFF"/>
                </a:solidFill>
              </a:rPr>
              <a:t>www.rosenergoatom.ru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" y="578567"/>
            <a:ext cx="405082" cy="341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7509284" y="4654482"/>
            <a:ext cx="1418003" cy="314708"/>
          </a:xfrm>
          <a:prstGeom prst="rect">
            <a:avLst/>
          </a:prstGeom>
          <a:noFill/>
        </p:spPr>
        <p:txBody>
          <a:bodyPr vert="horz" lIns="137278" tIns="68639" rIns="137278" bIns="68639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901">
                <a:solidFill>
                  <a:srgbClr val="0070C0"/>
                </a:solidFill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901" dirty="0">
              <a:solidFill>
                <a:srgbClr val="0070C0"/>
              </a:solidFill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632188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6440" rtl="0" eaLnBrk="1" latinLnBrk="0" hangingPunct="1">
        <a:lnSpc>
          <a:spcPct val="90000"/>
        </a:lnSpc>
        <a:spcBef>
          <a:spcPct val="0"/>
        </a:spcBef>
        <a:buNone/>
        <a:defRPr sz="1802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686440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None/>
        <a:defRPr sz="1351" kern="1200">
          <a:solidFill>
            <a:srgbClr val="616767"/>
          </a:solidFill>
          <a:latin typeface="+mn-lt"/>
          <a:ea typeface="+mn-ea"/>
          <a:cs typeface="+mn-cs"/>
        </a:defRPr>
      </a:lvl1pPr>
      <a:lvl2pPr marL="5148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2pPr>
      <a:lvl3pPr marL="8580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3pPr>
      <a:lvl4pPr marL="12012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4pPr>
      <a:lvl5pPr marL="154449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5pPr>
      <a:lvl6pPr marL="188771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309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41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73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85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5978">
          <p15:clr>
            <a:srgbClr val="F26B43"/>
          </p15:clr>
        </p15:guide>
        <p15:guide id="4" pos="3120">
          <p15:clr>
            <a:srgbClr val="F26B43"/>
          </p15:clr>
        </p15:guide>
        <p15:guide id="5" orient="horz" pos="3906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5083" y="750380"/>
            <a:ext cx="8738918" cy="3432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4978722"/>
            <a:ext cx="9144000" cy="16954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94756" y="4972979"/>
            <a:ext cx="1456636" cy="207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1" dirty="0">
                <a:solidFill>
                  <a:srgbClr val="FFFFFF"/>
                </a:solidFill>
              </a:rPr>
              <a:t>www.rosenergoatom.ru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" y="578567"/>
            <a:ext cx="405082" cy="341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7509284" y="4654482"/>
            <a:ext cx="1418003" cy="314708"/>
          </a:xfrm>
          <a:prstGeom prst="rect">
            <a:avLst/>
          </a:prstGeom>
          <a:noFill/>
        </p:spPr>
        <p:txBody>
          <a:bodyPr vert="horz" lIns="137278" tIns="68639" rIns="137278" bIns="68639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901">
                <a:solidFill>
                  <a:srgbClr val="0070C0"/>
                </a:solidFill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901" dirty="0">
              <a:solidFill>
                <a:srgbClr val="0070C0"/>
              </a:solidFill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07751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6440" rtl="0" eaLnBrk="1" latinLnBrk="0" hangingPunct="1">
        <a:lnSpc>
          <a:spcPct val="90000"/>
        </a:lnSpc>
        <a:spcBef>
          <a:spcPct val="0"/>
        </a:spcBef>
        <a:buNone/>
        <a:defRPr sz="1802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686440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None/>
        <a:defRPr sz="1351" kern="1200">
          <a:solidFill>
            <a:srgbClr val="616767"/>
          </a:solidFill>
          <a:latin typeface="+mn-lt"/>
          <a:ea typeface="+mn-ea"/>
          <a:cs typeface="+mn-cs"/>
        </a:defRPr>
      </a:lvl1pPr>
      <a:lvl2pPr marL="5148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2pPr>
      <a:lvl3pPr marL="8580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3pPr>
      <a:lvl4pPr marL="12012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4pPr>
      <a:lvl5pPr marL="154449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5pPr>
      <a:lvl6pPr marL="188771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309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41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73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85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5978">
          <p15:clr>
            <a:srgbClr val="F26B43"/>
          </p15:clr>
        </p15:guide>
        <p15:guide id="4" pos="3120">
          <p15:clr>
            <a:srgbClr val="F26B43"/>
          </p15:clr>
        </p15:guide>
        <p15:guide id="5" orient="horz" pos="390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73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5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03820" y="372642"/>
            <a:ext cx="1065094" cy="318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54" r:id="rId2"/>
    <p:sldLayoutId id="2147483855" r:id="rId3"/>
    <p:sldLayoutId id="2147483856" r:id="rId4"/>
    <p:sldLayoutId id="2147483857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03820" y="372642"/>
            <a:ext cx="1065094" cy="318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03820" y="372642"/>
            <a:ext cx="1065094" cy="318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08" r:id="rId2"/>
    <p:sldLayoutId id="2147483842" r:id="rId3"/>
    <p:sldLayoutId id="2147483843" r:id="rId4"/>
    <p:sldLayoutId id="2147483862" r:id="rId5"/>
    <p:sldLayoutId id="2147483863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03820" y="372642"/>
            <a:ext cx="1065094" cy="318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64" r:id="rId2"/>
    <p:sldLayoutId id="2147483865" r:id="rId3"/>
    <p:sldLayoutId id="2147483866" r:id="rId4"/>
    <p:sldLayoutId id="2147483867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332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847" r:id="rId2"/>
    <p:sldLayoutId id="2147483848" r:id="rId3"/>
    <p:sldLayoutId id="2147483849" r:id="rId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5083" y="750380"/>
            <a:ext cx="8738918" cy="3432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4978722"/>
            <a:ext cx="9144000" cy="16954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94756" y="4972979"/>
            <a:ext cx="1456636" cy="207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1" dirty="0">
                <a:solidFill>
                  <a:srgbClr val="FFFFFF"/>
                </a:solidFill>
              </a:rPr>
              <a:t>www.rosenergoatom.ru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" y="578567"/>
            <a:ext cx="405082" cy="341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7509284" y="4654482"/>
            <a:ext cx="1418003" cy="314708"/>
          </a:xfrm>
          <a:prstGeom prst="rect">
            <a:avLst/>
          </a:prstGeom>
          <a:noFill/>
        </p:spPr>
        <p:txBody>
          <a:bodyPr vert="horz" lIns="137278" tIns="68639" rIns="137278" bIns="68639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901">
                <a:solidFill>
                  <a:srgbClr val="0070C0"/>
                </a:solidFill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901" dirty="0">
              <a:solidFill>
                <a:srgbClr val="0070C0"/>
              </a:solidFill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547909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6440" rtl="0" eaLnBrk="1" latinLnBrk="0" hangingPunct="1">
        <a:lnSpc>
          <a:spcPct val="90000"/>
        </a:lnSpc>
        <a:spcBef>
          <a:spcPct val="0"/>
        </a:spcBef>
        <a:buNone/>
        <a:defRPr sz="1802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686440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None/>
        <a:defRPr sz="1351" kern="1200">
          <a:solidFill>
            <a:srgbClr val="616767"/>
          </a:solidFill>
          <a:latin typeface="+mn-lt"/>
          <a:ea typeface="+mn-ea"/>
          <a:cs typeface="+mn-cs"/>
        </a:defRPr>
      </a:lvl1pPr>
      <a:lvl2pPr marL="5148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2pPr>
      <a:lvl3pPr marL="8580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3pPr>
      <a:lvl4pPr marL="12012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4pPr>
      <a:lvl5pPr marL="154449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5pPr>
      <a:lvl6pPr marL="188771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309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41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73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85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5978">
          <p15:clr>
            <a:srgbClr val="F26B43"/>
          </p15:clr>
        </p15:guide>
        <p15:guide id="4" pos="3120">
          <p15:clr>
            <a:srgbClr val="F26B43"/>
          </p15:clr>
        </p15:guide>
        <p15:guide id="5" orient="horz" pos="3906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7" y="303932"/>
            <a:ext cx="8342434" cy="367431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5083" y="750380"/>
            <a:ext cx="8738918" cy="3432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4978722"/>
            <a:ext cx="9144000" cy="169541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94756" y="4972979"/>
            <a:ext cx="1456636" cy="207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1" dirty="0">
                <a:solidFill>
                  <a:srgbClr val="FFFFFF"/>
                </a:solidFill>
              </a:rPr>
              <a:t>www.rosenergoatom.ru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05083" y="920276"/>
            <a:ext cx="8738918" cy="373420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" y="578567"/>
            <a:ext cx="405082" cy="341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solidFill>
                <a:srgbClr val="FFFFFF"/>
              </a:solidFill>
            </a:endParaRPr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7509284" y="4654482"/>
            <a:ext cx="1418003" cy="314708"/>
          </a:xfrm>
          <a:prstGeom prst="rect">
            <a:avLst/>
          </a:prstGeom>
          <a:noFill/>
        </p:spPr>
        <p:txBody>
          <a:bodyPr vert="horz" lIns="137278" tIns="68639" rIns="137278" bIns="68639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901">
                <a:solidFill>
                  <a:srgbClr val="0070C0"/>
                </a:solidFill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901" dirty="0">
              <a:solidFill>
                <a:srgbClr val="0070C0"/>
              </a:solidFill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68278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6440" rtl="0" eaLnBrk="1" latinLnBrk="0" hangingPunct="1">
        <a:lnSpc>
          <a:spcPct val="90000"/>
        </a:lnSpc>
        <a:spcBef>
          <a:spcPct val="0"/>
        </a:spcBef>
        <a:buNone/>
        <a:defRPr sz="1802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686440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None/>
        <a:defRPr sz="1351" kern="1200">
          <a:solidFill>
            <a:srgbClr val="616767"/>
          </a:solidFill>
          <a:latin typeface="+mn-lt"/>
          <a:ea typeface="+mn-ea"/>
          <a:cs typeface="+mn-cs"/>
        </a:defRPr>
      </a:lvl1pPr>
      <a:lvl2pPr marL="5148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2pPr>
      <a:lvl3pPr marL="8580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3pPr>
      <a:lvl4pPr marL="12012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4pPr>
      <a:lvl5pPr marL="154449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1" kern="1200">
          <a:solidFill>
            <a:srgbClr val="616767"/>
          </a:solidFill>
          <a:latin typeface="+mn-lt"/>
          <a:ea typeface="+mn-ea"/>
          <a:cs typeface="+mn-cs"/>
        </a:defRPr>
      </a:lvl5pPr>
      <a:lvl6pPr marL="188771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3093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415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7370" indent="-171610" algn="l" defTabSz="68644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85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5978">
          <p15:clr>
            <a:srgbClr val="F26B43"/>
          </p15:clr>
        </p15:guide>
        <p15:guide id="4" pos="3120">
          <p15:clr>
            <a:srgbClr val="F26B43"/>
          </p15:clr>
        </p15:guide>
        <p15:guide id="5" orient="horz" pos="39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3.jpeg"/><Relationship Id="rId3" Type="http://schemas.openxmlformats.org/officeDocument/2006/relationships/image" Target="../media/image10.png"/><Relationship Id="rId7" Type="http://schemas.openxmlformats.org/officeDocument/2006/relationships/image" Target="../media/image11.sv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11" Type="http://schemas.openxmlformats.org/officeDocument/2006/relationships/image" Target="cid:B99EF94C-87CD-498F-BA9A-EB64E44EFC9F-L0-001" TargetMode="External"/><Relationship Id="rId10" Type="http://schemas.openxmlformats.org/officeDocument/2006/relationships/image" Target="../media/image11.jpeg"/><Relationship Id="rId9" Type="http://schemas.openxmlformats.org/officeDocument/2006/relationships/image" Target="../media/image9.png"/><Relationship Id="rId14" Type="http://schemas.openxmlformats.org/officeDocument/2006/relationships/image" Target="../media/image14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9.png"/><Relationship Id="rId7" Type="http://schemas.openxmlformats.org/officeDocument/2006/relationships/image" Target="cid:3D655490-8DA9-4C00-A694-0CA79979992A-L0-001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jpeg"/><Relationship Id="rId5" Type="http://schemas.openxmlformats.org/officeDocument/2006/relationships/image" Target="cid:CC830C70-2EDA-4F8D-9FA6-FDABB4EBF6CB-L0-001" TargetMode="External"/><Relationship Id="rId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image" Target="../media/image18.png"/><Relationship Id="rId7" Type="http://schemas.openxmlformats.org/officeDocument/2006/relationships/image" Target="../media/image21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6.jpeg"/><Relationship Id="rId3" Type="http://schemas.openxmlformats.org/officeDocument/2006/relationships/image" Target="../media/image21.svg"/><Relationship Id="rId12" Type="http://schemas.openxmlformats.org/officeDocument/2006/relationships/image" Target="cid:E3058932-B46B-4A3C-A967-882B9D4DF4D9-L0-001" TargetMode="External"/><Relationship Id="rId17" Type="http://schemas.openxmlformats.org/officeDocument/2006/relationships/image" Target="../media/image28.jpeg"/><Relationship Id="rId2" Type="http://schemas.openxmlformats.org/officeDocument/2006/relationships/image" Target="../media/image23.png"/><Relationship Id="rId16" Type="http://schemas.openxmlformats.org/officeDocument/2006/relationships/image" Target="../media/image27.jpeg"/><Relationship Id="rId1" Type="http://schemas.openxmlformats.org/officeDocument/2006/relationships/slideLayout" Target="../slideLayouts/slideLayout16.xml"/><Relationship Id="rId11" Type="http://schemas.openxmlformats.org/officeDocument/2006/relationships/image" Target="../media/image25.jpeg"/><Relationship Id="rId5" Type="http://schemas.openxmlformats.org/officeDocument/2006/relationships/image" Target="../media/image23.svg"/><Relationship Id="rId15" Type="http://schemas.openxmlformats.org/officeDocument/2006/relationships/image" Target="../media/image9.png"/><Relationship Id="rId10" Type="http://schemas.openxmlformats.org/officeDocument/2006/relationships/image" Target="../media/image28.svg"/><Relationship Id="rId4" Type="http://schemas.openxmlformats.org/officeDocument/2006/relationships/image" Target="../media/image24.png"/><Relationship Id="rId14" Type="http://schemas.openxmlformats.org/officeDocument/2006/relationships/image" Target="cid:A28FBCBA-B2C9-47CD-BD6E-4412F74D54E2-L0-001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anppt.ru/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3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539750" y="2122488"/>
            <a:ext cx="8283576" cy="1189037"/>
          </a:xfrm>
        </p:spPr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III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Международный конкурс</a:t>
            </a:r>
            <a:br>
              <a:rPr lang="ru-RU" dirty="0" smtClean="0">
                <a:latin typeface="Arial" pitchFamily="34" charset="0"/>
                <a:cs typeface="Arial" pitchFamily="34" charset="0"/>
              </a:rPr>
            </a:br>
            <a:r>
              <a:rPr lang="ru-RU" dirty="0" smtClean="0">
                <a:latin typeface="Arial" pitchFamily="34" charset="0"/>
                <a:cs typeface="Arial" pitchFamily="34" charset="0"/>
              </a:rPr>
              <a:t>«Атомный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Пегасик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»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44" t="8004" r="12697" b="670"/>
          <a:stretch/>
        </p:blipFill>
        <p:spPr>
          <a:xfrm>
            <a:off x="3164682" y="89876"/>
            <a:ext cx="2157412" cy="130669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487" y="4138897"/>
            <a:ext cx="576660" cy="73314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2815" y="4171622"/>
            <a:ext cx="1262902" cy="450077"/>
          </a:xfrm>
          <a:prstGeom prst="rect">
            <a:avLst/>
          </a:prstGeom>
        </p:spPr>
      </p:pic>
      <p:pic>
        <p:nvPicPr>
          <p:cNvPr id="10" name="Picture 6" descr="Эмблема Литературного института им. Горького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2386" y="4016938"/>
            <a:ext cx="1027427" cy="69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76482" y="4016937"/>
            <a:ext cx="560178" cy="69952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66452" y="1157288"/>
            <a:ext cx="1734436" cy="1531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510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1F61E533-B5ED-4AAC-BD84-DE023E0E292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68425" y="78752"/>
            <a:ext cx="7991475" cy="3683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402" dirty="0"/>
              <a:t>О конкурсе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6B2BC044-55D1-4CF8-83EB-E3EAC0FC1F77}"/>
              </a:ext>
            </a:extLst>
          </p:cNvPr>
          <p:cNvSpPr/>
          <p:nvPr/>
        </p:nvSpPr>
        <p:spPr>
          <a:xfrm>
            <a:off x="527950" y="1088488"/>
            <a:ext cx="22701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cap="all" dirty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Конкурс посвящен </a:t>
            </a:r>
            <a:endParaRPr lang="ru-RU" dirty="0">
              <a:latin typeface="+mj-lt"/>
            </a:endParaRPr>
          </a:p>
        </p:txBody>
      </p:sp>
      <p:pic>
        <p:nvPicPr>
          <p:cNvPr id="25" name="Рисунок 24" descr="Звезда">
            <a:extLst>
              <a:ext uri="{FF2B5EF4-FFF2-40B4-BE49-F238E27FC236}">
                <a16:creationId xmlns="" xmlns:a16="http://schemas.microsoft.com/office/drawing/2014/main" id="{E7103271-1377-482A-80CA-6B67981225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60031" y="1553476"/>
            <a:ext cx="179719" cy="179719"/>
          </a:xfrm>
          <a:prstGeom prst="rect">
            <a:avLst/>
          </a:prstGeom>
        </p:spPr>
      </p:pic>
      <p:pic>
        <p:nvPicPr>
          <p:cNvPr id="26" name="Рисунок 25" descr="Звезда">
            <a:extLst>
              <a:ext uri="{FF2B5EF4-FFF2-40B4-BE49-F238E27FC236}">
                <a16:creationId xmlns="" xmlns:a16="http://schemas.microsoft.com/office/drawing/2014/main" id="{4E033706-61AD-4D05-B504-F70D7751273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60031" y="1942769"/>
            <a:ext cx="179719" cy="17971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464" y="-13430"/>
            <a:ext cx="974725" cy="860951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619932" y="1440304"/>
            <a:ext cx="519968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>
                <a:latin typeface="+mj-lt"/>
                <a:ea typeface="Times New Roman" panose="02020603050405020304" pitchFamily="18" charset="0"/>
              </a:rPr>
              <a:t>200-летию со дня рождения Ф.М. Достоевского </a:t>
            </a:r>
            <a:endParaRPr lang="ru-RU" sz="1500" dirty="0">
              <a:latin typeface="+mj-l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19931" y="3668042"/>
            <a:ext cx="4269783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 smtClean="0">
                <a:latin typeface="+mj-lt"/>
                <a:ea typeface="Times New Roman" panose="02020603050405020304" pitchFamily="18" charset="0"/>
              </a:rPr>
              <a:t>«МИР И ДОВЕРИЕ»</a:t>
            </a:r>
            <a:endParaRPr lang="ru-RU" sz="1500" dirty="0">
              <a:latin typeface="+mj-lt"/>
            </a:endParaRPr>
          </a:p>
        </p:txBody>
      </p:sp>
      <p:pic>
        <p:nvPicPr>
          <p:cNvPr id="21" name="Рисунок 20" descr="cid:B99EF94C-87CD-498F-BA9A-EB64E44EFC9F-L0-001"/>
          <p:cNvPicPr/>
          <p:nvPr/>
        </p:nvPicPr>
        <p:blipFill>
          <a:blip r:embed="rId10" r:link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0171" y="757402"/>
            <a:ext cx="2581275" cy="4129405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Прямоугольник 12"/>
          <p:cNvSpPr/>
          <p:nvPr/>
        </p:nvSpPr>
        <p:spPr>
          <a:xfrm>
            <a:off x="489377" y="2665194"/>
            <a:ext cx="357501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cap="all" dirty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КОНКУРС ПРОВОДИТСЯ </a:t>
            </a:r>
            <a:endParaRPr lang="ru-RU" b="1" cap="all" dirty="0" smtClean="0">
              <a:solidFill>
                <a:schemeClr val="accent6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  <a:p>
            <a:r>
              <a:rPr lang="ru-RU" b="1" cap="all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по </a:t>
            </a:r>
            <a:r>
              <a:rPr lang="ru-RU" b="1" cap="all" dirty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двум тематическим трекам</a:t>
            </a:r>
          </a:p>
        </p:txBody>
      </p:sp>
      <p:pic>
        <p:nvPicPr>
          <p:cNvPr id="22" name="Рисунок 21" descr="Звезда">
            <a:extLst>
              <a:ext uri="{FF2B5EF4-FFF2-40B4-BE49-F238E27FC236}">
                <a16:creationId xmlns="" xmlns:a16="http://schemas.microsoft.com/office/drawing/2014/main" id="{E7103271-1377-482A-80CA-6B67981225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19021" y="3719155"/>
            <a:ext cx="179719" cy="179719"/>
          </a:xfrm>
          <a:prstGeom prst="rect">
            <a:avLst/>
          </a:prstGeom>
        </p:spPr>
      </p:pic>
      <p:pic>
        <p:nvPicPr>
          <p:cNvPr id="23" name="Рисунок 22" descr="Звезда">
            <a:extLst>
              <a:ext uri="{FF2B5EF4-FFF2-40B4-BE49-F238E27FC236}">
                <a16:creationId xmlns="" xmlns:a16="http://schemas.microsoft.com/office/drawing/2014/main" id="{E7103271-1377-482A-80CA-6B67981225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19022" y="3329862"/>
            <a:ext cx="179719" cy="179719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619931" y="3298710"/>
            <a:ext cx="519968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 smtClean="0">
                <a:latin typeface="+mj-lt"/>
                <a:ea typeface="Times New Roman" panose="02020603050405020304" pitchFamily="18" charset="0"/>
              </a:rPr>
              <a:t>«ЛЕТОПИСЕЦ»</a:t>
            </a:r>
            <a:endParaRPr lang="ru-RU" sz="1500" dirty="0">
              <a:latin typeface="+mj-lt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19930" y="1838286"/>
            <a:ext cx="426978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>
                <a:latin typeface="+mj-lt"/>
                <a:ea typeface="Times New Roman" panose="02020603050405020304" pitchFamily="18" charset="0"/>
              </a:rPr>
              <a:t>Международному году Мира и доверия, </a:t>
            </a:r>
            <a:endParaRPr lang="ru-RU" sz="1500" dirty="0" smtClean="0">
              <a:latin typeface="+mj-lt"/>
              <a:ea typeface="Times New Roman" panose="02020603050405020304" pitchFamily="18" charset="0"/>
            </a:endParaRPr>
          </a:p>
          <a:p>
            <a:r>
              <a:rPr lang="ru-RU" sz="1500" dirty="0" smtClean="0">
                <a:latin typeface="+mj-lt"/>
                <a:ea typeface="Times New Roman" panose="02020603050405020304" pitchFamily="18" charset="0"/>
              </a:rPr>
              <a:t>объявленному </a:t>
            </a:r>
            <a:r>
              <a:rPr lang="ru-RU" sz="1500" dirty="0">
                <a:latin typeface="+mj-lt"/>
                <a:ea typeface="Times New Roman" panose="02020603050405020304" pitchFamily="18" charset="0"/>
              </a:rPr>
              <a:t>ООН</a:t>
            </a:r>
            <a:endParaRPr lang="ru-RU" sz="1500" dirty="0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845907" y="625928"/>
            <a:ext cx="36519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  <a:latin typeface="+mj-lt"/>
                <a:cs typeface="Arial" panose="020B0604020202020204" pitchFamily="34" charset="0"/>
              </a:rPr>
              <a:t>Старт конкурса – 1 января 2021 </a:t>
            </a:r>
            <a:r>
              <a:rPr lang="ru-RU" b="1" dirty="0" smtClean="0">
                <a:solidFill>
                  <a:srgbClr val="0070C0"/>
                </a:solidFill>
                <a:latin typeface="+mj-lt"/>
                <a:cs typeface="Arial" panose="020B0604020202020204" pitchFamily="34" charset="0"/>
              </a:rPr>
              <a:t>года</a:t>
            </a:r>
            <a:endParaRPr lang="ru-RU" dirty="0">
              <a:solidFill>
                <a:srgbClr val="0070C0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29" name="Рисунок 28" descr="C:\Users\Наташа\Downloads\Павлова Алиса, 12 лет, Волгодонск.jpg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06" y="4108448"/>
            <a:ext cx="1820766" cy="950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Рисунок 29" descr="C:\Users\Наташа\Downloads\Замышляева Таисия, 12 лет В партизанском отряде.jpg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2930" y="4108447"/>
            <a:ext cx="1725870" cy="950881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0673" y="4064474"/>
            <a:ext cx="1366555" cy="994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18484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1F61E533-B5ED-4AAC-BD84-DE023E0E292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68425" y="78752"/>
            <a:ext cx="7991475" cy="3683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402" dirty="0"/>
              <a:t>О конкурсе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6B2BC044-55D1-4CF8-83EB-E3EAC0FC1F77}"/>
              </a:ext>
            </a:extLst>
          </p:cNvPr>
          <p:cNvSpPr/>
          <p:nvPr/>
        </p:nvSpPr>
        <p:spPr>
          <a:xfrm>
            <a:off x="434630" y="2851870"/>
            <a:ext cx="5405236" cy="21241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Премьерный показ </a:t>
            </a:r>
            <a:r>
              <a:rPr lang="ru-RU" sz="1200" b="1" cap="all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спектакля по </a:t>
            </a:r>
            <a:r>
              <a:rPr lang="ru-RU" sz="1200" b="1" cap="all" dirty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мотивам произведений победителей Конкурса под руководством профессионального </a:t>
            </a:r>
            <a:r>
              <a:rPr lang="ru-RU" sz="1200" b="1" cap="all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режиссера </a:t>
            </a:r>
            <a:r>
              <a:rPr lang="ru-RU" sz="1201" dirty="0">
                <a:solidFill>
                  <a:srgbClr val="0070BA"/>
                </a:solidFill>
                <a:latin typeface="+mj-lt"/>
              </a:rPr>
              <a:t>предусматривает:</a:t>
            </a: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трансляция спектакля на онлайн платформе </a:t>
            </a:r>
            <a:r>
              <a:rPr lang="ru-RU" sz="1201" dirty="0" err="1">
                <a:solidFill>
                  <a:srgbClr val="0070BA"/>
                </a:solidFill>
                <a:latin typeface="+mj-lt"/>
              </a:rPr>
              <a:t>YouTube</a:t>
            </a:r>
            <a:r>
              <a:rPr lang="ru-RU" sz="1201" dirty="0">
                <a:solidFill>
                  <a:srgbClr val="0070BA"/>
                </a:solidFill>
                <a:latin typeface="+mj-lt"/>
              </a:rPr>
              <a:t>;</a:t>
            </a: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демонстрация видеофильма о «Литературной смене»;</a:t>
            </a: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вручение дипломов и памятных подарков победителям.</a:t>
            </a:r>
          </a:p>
          <a:p>
            <a:r>
              <a:rPr lang="ru-RU" sz="1200" b="1" cap="all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показ </a:t>
            </a:r>
            <a:r>
              <a:rPr lang="ru-RU" sz="1200" b="1" cap="all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спектакля также пройдет на сцене московского театра</a:t>
            </a:r>
            <a:endParaRPr lang="ru-RU" sz="1200" b="1" cap="all" dirty="0">
              <a:solidFill>
                <a:schemeClr val="accent6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  <a:p>
            <a:endParaRPr lang="ru-RU" sz="1200" b="1" cap="all" dirty="0" smtClean="0">
              <a:solidFill>
                <a:schemeClr val="accent6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  <a:p>
            <a:r>
              <a:rPr lang="ru-RU" sz="1200" b="1" cap="all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Итогом </a:t>
            </a:r>
            <a:r>
              <a:rPr lang="ru-RU" sz="1200" b="1" cap="all" dirty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конкурса станет издание книги с произведениями победителей </a:t>
            </a:r>
          </a:p>
          <a:p>
            <a:endParaRPr lang="ru-RU" sz="1200" b="1" dirty="0" smtClean="0">
              <a:latin typeface="+mj-lt"/>
            </a:endParaRPr>
          </a:p>
          <a:p>
            <a:r>
              <a:rPr lang="ru-RU" sz="1200" b="1" dirty="0" smtClean="0">
                <a:latin typeface="+mj-lt"/>
              </a:rPr>
              <a:t>Предусмотрены </a:t>
            </a:r>
            <a:r>
              <a:rPr lang="ru-RU" sz="1200" b="1" dirty="0">
                <a:latin typeface="+mj-lt"/>
              </a:rPr>
              <a:t>гастроли спектакля по городам-участникам Конкурса.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42331"/>
            <a:ext cx="974725" cy="8609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424784" y="688890"/>
            <a:ext cx="46884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«Литературная смена» в Санкт-Петербурге</a:t>
            </a:r>
            <a:endParaRPr lang="ru-RU" sz="1200" b="1" cap="all" dirty="0">
              <a:solidFill>
                <a:schemeClr val="accent6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57981" y="847051"/>
            <a:ext cx="491802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latin typeface="+mj-lt"/>
                <a:ea typeface="Times New Roman" panose="02020603050405020304" pitchFamily="18" charset="0"/>
              </a:rPr>
              <a:t>Для победителей конкурса состоятся: </a:t>
            </a:r>
            <a:endParaRPr lang="ru-RU" sz="1200" b="1" dirty="0">
              <a:latin typeface="+mj-lt"/>
              <a:ea typeface="Times New Roman" panose="02020603050405020304" pitchFamily="18" charset="0"/>
            </a:endParaRP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лекции по теме конкурса;</a:t>
            </a: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индивидуальные занятия писателей с юными авторами и подготовка их произведений к печати;</a:t>
            </a: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«Литературные вечера»;</a:t>
            </a: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пленэры для юных художников;</a:t>
            </a: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лекции для начинающих драматургов; </a:t>
            </a: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мастер-классы по актерскому мастерству и сценической речи;</a:t>
            </a: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постановка спектакля;</a:t>
            </a: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культурная программа, включая экскурсии по г. Санкт-Петербургу и области.</a:t>
            </a:r>
          </a:p>
        </p:txBody>
      </p:sp>
      <p:pic>
        <p:nvPicPr>
          <p:cNvPr id="20" name="Рисунок 19" descr="cid:CC830C70-2EDA-4F8D-9FA6-FDABB4EBF6CB-L0-001"/>
          <p:cNvPicPr/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800" y="313662"/>
            <a:ext cx="1949610" cy="1225033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Рисунок 23" descr="cid:3D655490-8DA9-4C00-A694-0CA79979992A-L0-001"/>
          <p:cNvPicPr/>
          <p:nvPr/>
        </p:nvPicPr>
        <p:blipFill>
          <a:blip r:embed="rId6" r:link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1333" y="3900527"/>
            <a:ext cx="1577641" cy="1075514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0702" y="3276649"/>
            <a:ext cx="1614848" cy="1075514"/>
          </a:xfrm>
          <a:prstGeom prst="rect">
            <a:avLst/>
          </a:prstGeom>
        </p:spPr>
      </p:pic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6B2BC044-55D1-4CF8-83EB-E3EAC0FC1F77}"/>
              </a:ext>
            </a:extLst>
          </p:cNvPr>
          <p:cNvSpPr/>
          <p:nvPr/>
        </p:nvSpPr>
        <p:spPr>
          <a:xfrm>
            <a:off x="5567615" y="1522323"/>
            <a:ext cx="353644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Для всех участников конкурса</a:t>
            </a: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Лекции и мастер-классы членов Союза писателей России, преподавателей-филологов</a:t>
            </a:r>
          </a:p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- Онлайн-лекции по направлениям конкурса от издательства «Детская литература»</a:t>
            </a:r>
          </a:p>
          <a:p>
            <a:pPr marL="171450" indent="-171450">
              <a:buFontTx/>
              <a:buChar char="-"/>
            </a:pPr>
            <a:r>
              <a:rPr lang="ru-RU" sz="1201" dirty="0">
                <a:solidFill>
                  <a:srgbClr val="0070BA"/>
                </a:solidFill>
                <a:latin typeface="+mj-lt"/>
              </a:rPr>
              <a:t>Дипломы участников</a:t>
            </a:r>
          </a:p>
          <a:p>
            <a:r>
              <a:rPr lang="ru-RU" sz="1200" b="1" dirty="0" smtClean="0">
                <a:latin typeface="+mj-lt"/>
                <a:ea typeface="Times New Roman" panose="02020603050405020304" pitchFamily="18" charset="0"/>
              </a:rPr>
              <a:t>Предусмотрено награждение </a:t>
            </a:r>
            <a:r>
              <a:rPr lang="ru-RU" sz="1200" b="1" dirty="0">
                <a:latin typeface="+mj-lt"/>
                <a:ea typeface="Times New Roman" panose="02020603050405020304" pitchFamily="18" charset="0"/>
              </a:rPr>
              <a:t>школ, принявших активное участие в Конкурсе, книгами издательства «Детская литература»</a:t>
            </a:r>
          </a:p>
        </p:txBody>
      </p:sp>
    </p:spTree>
    <p:extLst>
      <p:ext uri="{BB962C8B-B14F-4D97-AF65-F5344CB8AC3E}">
        <p14:creationId xmlns:p14="http://schemas.microsoft.com/office/powerpoint/2010/main" val="9542255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3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36130"/>
            <a:ext cx="974725" cy="860951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AC9B652-E9BD-4463-9AB7-E3E55FD80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8136" y="25126"/>
            <a:ext cx="8342434" cy="367431"/>
          </a:xfrm>
        </p:spPr>
        <p:txBody>
          <a:bodyPr>
            <a:noAutofit/>
          </a:bodyPr>
          <a:lstStyle/>
          <a:p>
            <a:r>
              <a:rPr lang="ru-RU" sz="2402" dirty="0" smtClean="0"/>
              <a:t>Номинации конкурса</a:t>
            </a:r>
            <a:endParaRPr lang="ru-RU" sz="2402" dirty="0"/>
          </a:p>
        </p:txBody>
      </p:sp>
      <p:pic>
        <p:nvPicPr>
          <p:cNvPr id="39" name="Рисунок 38" descr="Лента">
            <a:extLst>
              <a:ext uri="{FF2B5EF4-FFF2-40B4-BE49-F238E27FC236}">
                <a16:creationId xmlns="" xmlns:a16="http://schemas.microsoft.com/office/drawing/2014/main" id="{8D007593-29EF-4644-A3CC-02BCF675A7C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84728" y="969002"/>
            <a:ext cx="250096" cy="250096"/>
          </a:xfrm>
          <a:prstGeom prst="rect">
            <a:avLst/>
          </a:prstGeom>
        </p:spPr>
      </p:pic>
      <p:pic>
        <p:nvPicPr>
          <p:cNvPr id="40" name="Рисунок 39" descr="Лента">
            <a:extLst>
              <a:ext uri="{FF2B5EF4-FFF2-40B4-BE49-F238E27FC236}">
                <a16:creationId xmlns="" xmlns:a16="http://schemas.microsoft.com/office/drawing/2014/main" id="{C3623334-3407-484D-8457-DA17016FC8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84728" y="1984205"/>
            <a:ext cx="250096" cy="239978"/>
          </a:xfrm>
          <a:prstGeom prst="rect">
            <a:avLst/>
          </a:prstGeom>
        </p:spPr>
      </p:pic>
      <p:pic>
        <p:nvPicPr>
          <p:cNvPr id="41" name="Рисунок 40" descr="Лента">
            <a:extLst>
              <a:ext uri="{FF2B5EF4-FFF2-40B4-BE49-F238E27FC236}">
                <a16:creationId xmlns="" xmlns:a16="http://schemas.microsoft.com/office/drawing/2014/main" id="{CCAC1994-701A-4C8A-9C73-9FC3CB02AB7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86089" y="2648148"/>
            <a:ext cx="273440" cy="273440"/>
          </a:xfrm>
          <a:prstGeom prst="rect">
            <a:avLst/>
          </a:prstGeom>
        </p:spPr>
      </p:pic>
      <p:pic>
        <p:nvPicPr>
          <p:cNvPr id="42" name="Рисунок 41" descr="Лента">
            <a:extLst>
              <a:ext uri="{FF2B5EF4-FFF2-40B4-BE49-F238E27FC236}">
                <a16:creationId xmlns="" xmlns:a16="http://schemas.microsoft.com/office/drawing/2014/main" id="{008562A6-F82E-480D-9D4F-6D948E599B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70606" y="3891428"/>
            <a:ext cx="250096" cy="250096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F43F0990-56E1-4803-9D85-A8201055512D}"/>
              </a:ext>
            </a:extLst>
          </p:cNvPr>
          <p:cNvSpPr/>
          <p:nvPr/>
        </p:nvSpPr>
        <p:spPr>
          <a:xfrm>
            <a:off x="559529" y="2243530"/>
            <a:ext cx="3154920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«Лучшие </a:t>
            </a:r>
            <a:r>
              <a:rPr lang="ru-RU" sz="1201" dirty="0" smtClean="0">
                <a:solidFill>
                  <a:srgbClr val="0070BA"/>
                </a:solidFill>
                <a:latin typeface="+mj-lt"/>
              </a:rPr>
              <a:t>иллюстрации в треке «Летописец»</a:t>
            </a:r>
            <a:endParaRPr lang="ru-RU" sz="1201" dirty="0">
              <a:solidFill>
                <a:srgbClr val="0070BA"/>
              </a:solidFill>
              <a:latin typeface="+mj-lt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6FDB7089-1FC5-43B8-9324-2F08CF4BF63F}"/>
              </a:ext>
            </a:extLst>
          </p:cNvPr>
          <p:cNvSpPr/>
          <p:nvPr/>
        </p:nvSpPr>
        <p:spPr>
          <a:xfrm>
            <a:off x="517820" y="1245355"/>
            <a:ext cx="3154920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«Лучший </a:t>
            </a:r>
            <a:r>
              <a:rPr lang="ru-RU" sz="1201" dirty="0" smtClean="0">
                <a:solidFill>
                  <a:srgbClr val="0070BA"/>
                </a:solidFill>
                <a:latin typeface="+mj-lt"/>
              </a:rPr>
              <a:t>рассказ в треке «Мир и доверие»</a:t>
            </a:r>
            <a:endParaRPr lang="ru-RU" sz="1201" dirty="0">
              <a:solidFill>
                <a:srgbClr val="0070BA"/>
              </a:solidFill>
              <a:latin typeface="+mj-lt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47C72588-B1E2-4520-AD25-F02D752D83C6}"/>
              </a:ext>
            </a:extLst>
          </p:cNvPr>
          <p:cNvSpPr/>
          <p:nvPr/>
        </p:nvSpPr>
        <p:spPr>
          <a:xfrm>
            <a:off x="549492" y="1916589"/>
            <a:ext cx="4259046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«Лучшее поэтическое </a:t>
            </a:r>
            <a:r>
              <a:rPr lang="ru-RU" sz="1201" dirty="0" smtClean="0">
                <a:solidFill>
                  <a:srgbClr val="0070BA"/>
                </a:solidFill>
                <a:latin typeface="+mj-lt"/>
              </a:rPr>
              <a:t>произведение в треке «Мир и доверие»</a:t>
            </a:r>
            <a:endParaRPr lang="ru-RU" sz="1201" dirty="0">
              <a:solidFill>
                <a:srgbClr val="0070BA"/>
              </a:solidFill>
              <a:latin typeface="+mj-lt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70D6F020-310C-4E0D-BF70-6DEA365BA3E4}"/>
              </a:ext>
            </a:extLst>
          </p:cNvPr>
          <p:cNvSpPr/>
          <p:nvPr/>
        </p:nvSpPr>
        <p:spPr>
          <a:xfrm>
            <a:off x="487362" y="4429858"/>
            <a:ext cx="4425939" cy="3926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«Лучший учитель литературы и русского языка страны </a:t>
            </a:r>
            <a:r>
              <a:rPr lang="ru-RU" sz="1201" dirty="0" err="1">
                <a:solidFill>
                  <a:srgbClr val="0070BA"/>
                </a:solidFill>
                <a:latin typeface="+mj-lt"/>
              </a:rPr>
              <a:t>Росатом</a:t>
            </a:r>
            <a:r>
              <a:rPr lang="ru-RU" sz="1201" dirty="0">
                <a:solidFill>
                  <a:srgbClr val="0070BA"/>
                </a:solidFill>
                <a:latin typeface="+mj-lt"/>
              </a:rPr>
              <a:t>»</a:t>
            </a:r>
          </a:p>
          <a:p>
            <a:r>
              <a:rPr lang="ru-RU" sz="751" dirty="0">
                <a:solidFill>
                  <a:schemeClr val="tx2">
                    <a:lumMod val="75000"/>
                  </a:schemeClr>
                </a:solidFill>
              </a:rPr>
              <a:t>Победит тот учитель, чьи дети пришлют на конкурс самое большее число работ-победителей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8C603695-5F4A-4C31-919E-D3D846E16609}"/>
              </a:ext>
            </a:extLst>
          </p:cNvPr>
          <p:cNvSpPr/>
          <p:nvPr/>
        </p:nvSpPr>
        <p:spPr>
          <a:xfrm>
            <a:off x="755001" y="3042603"/>
            <a:ext cx="3556913" cy="2655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26" b="1" cap="all" dirty="0" err="1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СПЕЦИАЛЬНые</a:t>
            </a:r>
            <a:r>
              <a:rPr lang="ru-RU" sz="1126" b="1" cap="all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1126" b="1" cap="all" dirty="0" err="1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НОМИНАЦИи</a:t>
            </a:r>
            <a:r>
              <a:rPr lang="ru-RU" sz="1126" b="1" cap="all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 </a:t>
            </a:r>
            <a:endParaRPr lang="ru-RU" sz="1351" dirty="0">
              <a:solidFill>
                <a:schemeClr val="tx2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pic>
        <p:nvPicPr>
          <p:cNvPr id="20" name="Рисунок 19" descr="Лента">
            <a:extLst>
              <a:ext uri="{FF2B5EF4-FFF2-40B4-BE49-F238E27FC236}">
                <a16:creationId xmlns="" xmlns:a16="http://schemas.microsoft.com/office/drawing/2014/main" id="{CCAC1994-701A-4C8A-9C73-9FC3CB02AB7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85849" y="3421027"/>
            <a:ext cx="243820" cy="245644"/>
          </a:xfrm>
          <a:prstGeom prst="rect">
            <a:avLst/>
          </a:prstGeom>
        </p:spPr>
      </p:pic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8C603695-5F4A-4C31-919E-D3D846E16609}"/>
              </a:ext>
            </a:extLst>
          </p:cNvPr>
          <p:cNvSpPr/>
          <p:nvPr/>
        </p:nvSpPr>
        <p:spPr>
          <a:xfrm>
            <a:off x="755002" y="657246"/>
            <a:ext cx="3556913" cy="2655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26" b="1" cap="all" dirty="0" smtClean="0">
                <a:solidFill>
                  <a:schemeClr val="accent6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основные номинации</a:t>
            </a:r>
            <a:endParaRPr lang="ru-RU" sz="1351" dirty="0">
              <a:solidFill>
                <a:schemeClr val="tx2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Лента">
            <a:extLst>
              <a:ext uri="{FF2B5EF4-FFF2-40B4-BE49-F238E27FC236}">
                <a16:creationId xmlns="" xmlns:a16="http://schemas.microsoft.com/office/drawing/2014/main" id="{C3623334-3407-484D-8457-DA17016FC8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84728" y="1308761"/>
            <a:ext cx="250096" cy="239978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6FDB7089-1FC5-43B8-9324-2F08CF4BF63F}"/>
              </a:ext>
            </a:extLst>
          </p:cNvPr>
          <p:cNvSpPr/>
          <p:nvPr/>
        </p:nvSpPr>
        <p:spPr>
          <a:xfrm>
            <a:off x="559529" y="958029"/>
            <a:ext cx="3154920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«Лучший </a:t>
            </a:r>
            <a:r>
              <a:rPr lang="ru-RU" sz="1201" dirty="0" smtClean="0">
                <a:solidFill>
                  <a:srgbClr val="0070BA"/>
                </a:solidFill>
                <a:latin typeface="+mj-lt"/>
              </a:rPr>
              <a:t>рассказ в треке «Летописец»</a:t>
            </a:r>
            <a:endParaRPr lang="ru-RU" sz="1201" dirty="0">
              <a:solidFill>
                <a:srgbClr val="0070BA"/>
              </a:solidFill>
              <a:latin typeface="+mj-lt"/>
            </a:endParaRPr>
          </a:p>
        </p:txBody>
      </p:sp>
      <p:pic>
        <p:nvPicPr>
          <p:cNvPr id="25" name="Рисунок 24" descr="Лента">
            <a:extLst>
              <a:ext uri="{FF2B5EF4-FFF2-40B4-BE49-F238E27FC236}">
                <a16:creationId xmlns="" xmlns:a16="http://schemas.microsoft.com/office/drawing/2014/main" id="{C3623334-3407-484D-8457-DA17016FC8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90506" y="1632290"/>
            <a:ext cx="250096" cy="239978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47C72588-B1E2-4520-AD25-F02D752D83C6}"/>
              </a:ext>
            </a:extLst>
          </p:cNvPr>
          <p:cNvSpPr/>
          <p:nvPr/>
        </p:nvSpPr>
        <p:spPr>
          <a:xfrm>
            <a:off x="506317" y="1584053"/>
            <a:ext cx="4010023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«Лучшее поэтическое </a:t>
            </a:r>
            <a:r>
              <a:rPr lang="ru-RU" sz="1201" dirty="0" smtClean="0">
                <a:solidFill>
                  <a:srgbClr val="0070BA"/>
                </a:solidFill>
                <a:latin typeface="+mj-lt"/>
              </a:rPr>
              <a:t>произведение в треке «Летописец»»</a:t>
            </a:r>
            <a:endParaRPr lang="ru-RU" sz="1201" dirty="0">
              <a:solidFill>
                <a:srgbClr val="0070BA"/>
              </a:solidFill>
              <a:latin typeface="+mj-lt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F43F0990-56E1-4803-9D85-A8201055512D}"/>
              </a:ext>
            </a:extLst>
          </p:cNvPr>
          <p:cNvSpPr/>
          <p:nvPr/>
        </p:nvSpPr>
        <p:spPr>
          <a:xfrm>
            <a:off x="534823" y="2596190"/>
            <a:ext cx="3496487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«Лучшие </a:t>
            </a:r>
            <a:r>
              <a:rPr lang="ru-RU" sz="1201" dirty="0" smtClean="0">
                <a:solidFill>
                  <a:srgbClr val="0070BA"/>
                </a:solidFill>
                <a:latin typeface="+mj-lt"/>
              </a:rPr>
              <a:t>иллюстрации в треке «Мир и доверие»</a:t>
            </a:r>
            <a:endParaRPr lang="ru-RU" sz="1201" dirty="0">
              <a:solidFill>
                <a:srgbClr val="0070BA"/>
              </a:solidFill>
              <a:latin typeface="+mj-lt"/>
            </a:endParaRPr>
          </a:p>
        </p:txBody>
      </p:sp>
      <p:pic>
        <p:nvPicPr>
          <p:cNvPr id="28" name="Рисунок 27" descr="Лента">
            <a:extLst>
              <a:ext uri="{FF2B5EF4-FFF2-40B4-BE49-F238E27FC236}">
                <a16:creationId xmlns="" xmlns:a16="http://schemas.microsoft.com/office/drawing/2014/main" id="{CCAC1994-701A-4C8A-9C73-9FC3CB02AB7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86089" y="2313959"/>
            <a:ext cx="273440" cy="273440"/>
          </a:xfrm>
          <a:prstGeom prst="rect">
            <a:avLst/>
          </a:prstGeom>
        </p:spPr>
      </p:pic>
      <p:pic>
        <p:nvPicPr>
          <p:cNvPr id="29" name="Рисунок 28" descr="Лента">
            <a:extLst>
              <a:ext uri="{FF2B5EF4-FFF2-40B4-BE49-F238E27FC236}">
                <a16:creationId xmlns="" xmlns:a16="http://schemas.microsoft.com/office/drawing/2014/main" id="{CCAC1994-701A-4C8A-9C73-9FC3CB02AB7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84728" y="4455931"/>
            <a:ext cx="243820" cy="245644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59529" y="3353907"/>
            <a:ext cx="4572000" cy="5082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«Лучший </a:t>
            </a:r>
            <a:r>
              <a:rPr lang="ru-RU" sz="1201" dirty="0" smtClean="0">
                <a:solidFill>
                  <a:srgbClr val="0070BA"/>
                </a:solidFill>
                <a:latin typeface="+mj-lt"/>
              </a:rPr>
              <a:t>актер страны </a:t>
            </a:r>
            <a:r>
              <a:rPr lang="ru-RU" sz="1201" dirty="0" err="1">
                <a:solidFill>
                  <a:srgbClr val="0070BA"/>
                </a:solidFill>
                <a:latin typeface="+mj-lt"/>
              </a:rPr>
              <a:t>Росатом</a:t>
            </a:r>
            <a:r>
              <a:rPr lang="ru-RU" sz="1201" dirty="0" smtClean="0">
                <a:solidFill>
                  <a:srgbClr val="0070BA"/>
                </a:solidFill>
                <a:latin typeface="+mj-lt"/>
              </a:rPr>
              <a:t>»</a:t>
            </a:r>
          </a:p>
          <a:p>
            <a:r>
              <a:rPr lang="ru-RU" sz="751" dirty="0">
                <a:solidFill>
                  <a:schemeClr val="tx2">
                    <a:lumMod val="75000"/>
                  </a:schemeClr>
                </a:solidFill>
              </a:rPr>
              <a:t>Для участия в номинации участникам конкурса необходимо записать краткое видео (до 5-ти минут) с прочтением отрывка из произведения Ф.М. Достоевского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540602" y="3834561"/>
            <a:ext cx="4572000" cy="62376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1" dirty="0">
                <a:solidFill>
                  <a:srgbClr val="0070BA"/>
                </a:solidFill>
                <a:latin typeface="+mj-lt"/>
              </a:rPr>
              <a:t>«Лучший </a:t>
            </a:r>
            <a:r>
              <a:rPr lang="ru-RU" sz="1201" dirty="0" err="1" smtClean="0">
                <a:solidFill>
                  <a:srgbClr val="0070BA"/>
                </a:solidFill>
                <a:latin typeface="+mj-lt"/>
              </a:rPr>
              <a:t>блогер</a:t>
            </a:r>
            <a:r>
              <a:rPr lang="ru-RU" sz="1201" dirty="0" smtClean="0">
                <a:solidFill>
                  <a:srgbClr val="0070BA"/>
                </a:solidFill>
                <a:latin typeface="+mj-lt"/>
              </a:rPr>
              <a:t>»</a:t>
            </a:r>
          </a:p>
          <a:p>
            <a:r>
              <a:rPr lang="ru-RU" sz="751" dirty="0" smtClean="0">
                <a:solidFill>
                  <a:schemeClr val="tx2">
                    <a:lumMod val="75000"/>
                  </a:schemeClr>
                </a:solidFill>
              </a:rPr>
              <a:t>Номинация от </a:t>
            </a:r>
            <a:r>
              <a:rPr lang="ru-RU" sz="751" dirty="0" err="1" smtClean="0">
                <a:solidFill>
                  <a:schemeClr val="tx2">
                    <a:lumMod val="75000"/>
                  </a:schemeClr>
                </a:solidFill>
              </a:rPr>
              <a:t>Издательста</a:t>
            </a:r>
            <a:r>
              <a:rPr lang="ru-RU" sz="751" dirty="0" smtClean="0">
                <a:solidFill>
                  <a:schemeClr val="tx2">
                    <a:lumMod val="75000"/>
                  </a:schemeClr>
                </a:solidFill>
              </a:rPr>
              <a:t> «Детская литература» для </a:t>
            </a:r>
            <a:r>
              <a:rPr lang="ru-RU" sz="751" dirty="0">
                <a:solidFill>
                  <a:schemeClr val="tx2">
                    <a:lumMod val="75000"/>
                  </a:schemeClr>
                </a:solidFill>
              </a:rPr>
              <a:t>разработчика, который сделает блог по произведениям Достоевского и получит максимальное количество </a:t>
            </a:r>
            <a:r>
              <a:rPr lang="ru-RU" sz="751" dirty="0" smtClean="0">
                <a:solidFill>
                  <a:schemeClr val="tx2">
                    <a:lumMod val="75000"/>
                  </a:schemeClr>
                </a:solidFill>
              </a:rPr>
              <a:t>просмотров. </a:t>
            </a:r>
            <a:r>
              <a:rPr lang="ru-RU" sz="751" dirty="0">
                <a:solidFill>
                  <a:schemeClr val="tx2">
                    <a:lumMod val="75000"/>
                  </a:schemeClr>
                </a:solidFill>
              </a:rPr>
              <a:t>Для участия в номинации участникам необходимо приложить к конкурсной заявке ссылку на свой блог в </a:t>
            </a:r>
            <a:r>
              <a:rPr lang="ru-RU" sz="751" dirty="0" err="1">
                <a:solidFill>
                  <a:schemeClr val="tx2">
                    <a:lumMod val="75000"/>
                  </a:schemeClr>
                </a:solidFill>
              </a:rPr>
              <a:t>соцсетях</a:t>
            </a:r>
            <a:endParaRPr lang="ru-RU" sz="75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1" name="Рисунок 30" descr="C:\Users\Наташа\Downloads\ПРИЛОЖЕНИЕ 3.JPG"/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0" b="3382"/>
          <a:stretch/>
        </p:blipFill>
        <p:spPr bwMode="auto">
          <a:xfrm>
            <a:off x="4969240" y="1153660"/>
            <a:ext cx="2173955" cy="298897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2" name="Рисунок 31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06" r="15799" b="11282"/>
          <a:stretch>
            <a:fillRect/>
          </a:stretch>
        </p:blipFill>
        <p:spPr bwMode="auto">
          <a:xfrm>
            <a:off x="7244011" y="1133475"/>
            <a:ext cx="1899989" cy="30182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85477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6" grpId="0"/>
      <p:bldP spid="17" grpId="0"/>
      <p:bldP spid="18" grpId="0"/>
      <p:bldP spid="14" grpId="0"/>
      <p:bldP spid="21" grpId="0"/>
      <p:bldP spid="24" grpId="0"/>
      <p:bldP spid="26" grpId="0"/>
      <p:bldP spid="2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AC9B652-E9BD-4463-9AB7-E3E55FD80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2525" y="84883"/>
            <a:ext cx="7515258" cy="367431"/>
          </a:xfrm>
        </p:spPr>
        <p:txBody>
          <a:bodyPr>
            <a:noAutofit/>
          </a:bodyPr>
          <a:lstStyle/>
          <a:p>
            <a:r>
              <a:rPr lang="ru-RU" sz="2402" dirty="0"/>
              <a:t>Темы для творчества в номинациях</a:t>
            </a:r>
          </a:p>
        </p:txBody>
      </p:sp>
      <p:pic>
        <p:nvPicPr>
          <p:cNvPr id="27" name="Рисунок 26" descr="Кубок">
            <a:extLst>
              <a:ext uri="{FF2B5EF4-FFF2-40B4-BE49-F238E27FC236}">
                <a16:creationId xmlns="" xmlns:a16="http://schemas.microsoft.com/office/drawing/2014/main" id="{EBB7AD25-5A2A-4B7E-813F-470E93A11F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572000" y="1336451"/>
            <a:ext cx="193049" cy="193049"/>
          </a:xfrm>
          <a:prstGeom prst="rect">
            <a:avLst/>
          </a:prstGeom>
        </p:spPr>
      </p:pic>
      <p:pic>
        <p:nvPicPr>
          <p:cNvPr id="28" name="Рисунок 27" descr="Кубок">
            <a:extLst>
              <a:ext uri="{FF2B5EF4-FFF2-40B4-BE49-F238E27FC236}">
                <a16:creationId xmlns="" xmlns:a16="http://schemas.microsoft.com/office/drawing/2014/main" id="{E2FCD69B-AE67-4377-ABB9-5DBD3F70CC2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571104" y="1746168"/>
            <a:ext cx="193049" cy="173736"/>
          </a:xfrm>
          <a:prstGeom prst="rect">
            <a:avLst/>
          </a:prstGeom>
        </p:spPr>
      </p:pic>
      <p:pic>
        <p:nvPicPr>
          <p:cNvPr id="29" name="Рисунок 28" descr="Кубок">
            <a:extLst>
              <a:ext uri="{FF2B5EF4-FFF2-40B4-BE49-F238E27FC236}">
                <a16:creationId xmlns="" xmlns:a16="http://schemas.microsoft.com/office/drawing/2014/main" id="{9B68D738-63AA-4031-837D-4E7FD13F8BB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568632" y="2167889"/>
            <a:ext cx="193049" cy="193049"/>
          </a:xfrm>
          <a:prstGeom prst="rect">
            <a:avLst/>
          </a:prstGeom>
        </p:spPr>
      </p:pic>
      <p:pic>
        <p:nvPicPr>
          <p:cNvPr id="30" name="Рисунок 29" descr="Кубок">
            <a:extLst>
              <a:ext uri="{FF2B5EF4-FFF2-40B4-BE49-F238E27FC236}">
                <a16:creationId xmlns="" xmlns:a16="http://schemas.microsoft.com/office/drawing/2014/main" id="{9978E862-DA47-4F15-AA27-E622A901854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572000" y="2541968"/>
            <a:ext cx="193049" cy="193049"/>
          </a:xfrm>
          <a:prstGeom prst="rect">
            <a:avLst/>
          </a:prstGeom>
        </p:spPr>
      </p:pic>
      <p:pic>
        <p:nvPicPr>
          <p:cNvPr id="32" name="Рисунок 31" descr="Кубок">
            <a:extLst>
              <a:ext uri="{FF2B5EF4-FFF2-40B4-BE49-F238E27FC236}">
                <a16:creationId xmlns="" xmlns:a16="http://schemas.microsoft.com/office/drawing/2014/main" id="{04E608A4-E178-4B82-8FD4-152E9F1C08F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39750" y="1325446"/>
            <a:ext cx="193049" cy="193049"/>
          </a:xfrm>
          <a:prstGeom prst="rect">
            <a:avLst/>
          </a:prstGeom>
        </p:spPr>
      </p:pic>
      <p:pic>
        <p:nvPicPr>
          <p:cNvPr id="33" name="Рисунок 32" descr="Кубок">
            <a:extLst>
              <a:ext uri="{FF2B5EF4-FFF2-40B4-BE49-F238E27FC236}">
                <a16:creationId xmlns="" xmlns:a16="http://schemas.microsoft.com/office/drawing/2014/main" id="{F084238C-91F4-4002-B17F-AD84F7C26B6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39746" y="2337834"/>
            <a:ext cx="193049" cy="193049"/>
          </a:xfrm>
          <a:prstGeom prst="rect">
            <a:avLst/>
          </a:prstGeom>
        </p:spPr>
      </p:pic>
      <p:pic>
        <p:nvPicPr>
          <p:cNvPr id="34" name="Рисунок 33" descr="Кубок">
            <a:extLst>
              <a:ext uri="{FF2B5EF4-FFF2-40B4-BE49-F238E27FC236}">
                <a16:creationId xmlns="" xmlns:a16="http://schemas.microsoft.com/office/drawing/2014/main" id="{D438F6E7-F1CE-4664-991E-E12960F4CE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539747" y="2769939"/>
            <a:ext cx="193049" cy="193049"/>
          </a:xfrm>
          <a:prstGeom prst="rect">
            <a:avLst/>
          </a:prstGeom>
        </p:spPr>
      </p:pic>
      <p:pic>
        <p:nvPicPr>
          <p:cNvPr id="35" name="Рисунок 34" descr="Кубок">
            <a:extLst>
              <a:ext uri="{FF2B5EF4-FFF2-40B4-BE49-F238E27FC236}">
                <a16:creationId xmlns="" xmlns:a16="http://schemas.microsoft.com/office/drawing/2014/main" id="{83D92241-5A82-4E03-8F64-7E6262BC430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539745" y="1736511"/>
            <a:ext cx="193049" cy="193049"/>
          </a:xfrm>
          <a:prstGeom prst="rect">
            <a:avLst/>
          </a:prstGeom>
        </p:spPr>
      </p:pic>
      <p:pic>
        <p:nvPicPr>
          <p:cNvPr id="38" name="Рисунок 37" descr="Кубок">
            <a:extLst>
              <a:ext uri="{FF2B5EF4-FFF2-40B4-BE49-F238E27FC236}">
                <a16:creationId xmlns="" xmlns:a16="http://schemas.microsoft.com/office/drawing/2014/main" id="{7A290C85-3723-4786-8576-EB641625AD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4577840" y="3012571"/>
            <a:ext cx="193049" cy="193049"/>
          </a:xfrm>
          <a:prstGeom prst="rect">
            <a:avLst/>
          </a:prstGeom>
        </p:spPr>
      </p:pic>
      <p:pic>
        <p:nvPicPr>
          <p:cNvPr id="40" name="Рисунок 39" descr="Кубок">
            <a:extLst>
              <a:ext uri="{FF2B5EF4-FFF2-40B4-BE49-F238E27FC236}">
                <a16:creationId xmlns="" xmlns:a16="http://schemas.microsoft.com/office/drawing/2014/main" id="{FD669EFE-8EB0-4A6D-863D-38D577B4CC5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577840" y="3402975"/>
            <a:ext cx="193049" cy="19304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939342" y="1265382"/>
            <a:ext cx="3072070" cy="1755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51" dirty="0">
                <a:solidFill>
                  <a:srgbClr val="002060"/>
                </a:solidFill>
              </a:rPr>
              <a:t>- «Жизнь задыхается без цели»</a:t>
            </a:r>
          </a:p>
          <a:p>
            <a:endParaRPr lang="ru-RU" sz="1351" dirty="0">
              <a:solidFill>
                <a:srgbClr val="002060"/>
              </a:solidFill>
            </a:endParaRPr>
          </a:p>
          <a:p>
            <a:r>
              <a:rPr lang="ru-RU" sz="1351" dirty="0">
                <a:solidFill>
                  <a:srgbClr val="002060"/>
                </a:solidFill>
              </a:rPr>
              <a:t>- «Удивительно, что может сделать один луч солнца с душой человека</a:t>
            </a:r>
            <a:r>
              <a:rPr lang="ru-RU" sz="1351" dirty="0" smtClean="0">
                <a:solidFill>
                  <a:srgbClr val="002060"/>
                </a:solidFill>
              </a:rPr>
              <a:t>!»</a:t>
            </a:r>
            <a:endParaRPr lang="ru-RU" sz="1351" dirty="0">
              <a:solidFill>
                <a:srgbClr val="002060"/>
              </a:solidFill>
            </a:endParaRPr>
          </a:p>
          <a:p>
            <a:endParaRPr lang="ru-RU" sz="1351" dirty="0">
              <a:solidFill>
                <a:srgbClr val="002060"/>
              </a:solidFill>
            </a:endParaRPr>
          </a:p>
          <a:p>
            <a:r>
              <a:rPr lang="ru-RU" sz="1351" dirty="0">
                <a:solidFill>
                  <a:srgbClr val="002060"/>
                </a:solidFill>
              </a:rPr>
              <a:t>- «Мир спасет красота»</a:t>
            </a:r>
          </a:p>
          <a:p>
            <a:endParaRPr lang="ru-RU" sz="1351" dirty="0">
              <a:solidFill>
                <a:srgbClr val="002060"/>
              </a:solidFill>
            </a:endParaRPr>
          </a:p>
          <a:p>
            <a:r>
              <a:rPr lang="ru-RU" sz="1351" dirty="0">
                <a:solidFill>
                  <a:srgbClr val="002060"/>
                </a:solidFill>
              </a:rPr>
              <a:t>- «Душа исцеляется рядом с детьми</a:t>
            </a:r>
            <a:r>
              <a:rPr lang="ru-RU" sz="1351" dirty="0" smtClean="0">
                <a:solidFill>
                  <a:srgbClr val="002060"/>
                </a:solidFill>
              </a:rPr>
              <a:t>»</a:t>
            </a:r>
            <a:endParaRPr lang="ru-RU" sz="1351" dirty="0">
              <a:solidFill>
                <a:srgbClr val="00206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79997" y="1263902"/>
            <a:ext cx="3603175" cy="2378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513" indent="-214513">
              <a:buFontTx/>
              <a:buChar char="-"/>
            </a:pPr>
            <a:r>
              <a:rPr lang="ru-RU" sz="1351" dirty="0">
                <a:solidFill>
                  <a:srgbClr val="002060"/>
                </a:solidFill>
              </a:rPr>
              <a:t>«Колыбельная о мире»</a:t>
            </a:r>
            <a:endParaRPr lang="ru-RU" sz="1351" dirty="0" smtClean="0">
              <a:solidFill>
                <a:srgbClr val="002060"/>
              </a:solidFill>
            </a:endParaRPr>
          </a:p>
          <a:p>
            <a:pPr marL="214513" indent="-214513">
              <a:buFontTx/>
              <a:buChar char="-"/>
            </a:pPr>
            <a:endParaRPr lang="ru-RU" sz="1351" dirty="0">
              <a:solidFill>
                <a:srgbClr val="002060"/>
              </a:solidFill>
            </a:endParaRPr>
          </a:p>
          <a:p>
            <a:pPr marL="214513" indent="-214513">
              <a:buFontTx/>
              <a:buChar char="-"/>
            </a:pPr>
            <a:r>
              <a:rPr lang="ru-RU" sz="1351" dirty="0">
                <a:solidFill>
                  <a:srgbClr val="002060"/>
                </a:solidFill>
              </a:rPr>
              <a:t>«Атомные истории</a:t>
            </a:r>
            <a:r>
              <a:rPr lang="ru-RU" sz="1351" dirty="0" smtClean="0">
                <a:solidFill>
                  <a:srgbClr val="002060"/>
                </a:solidFill>
              </a:rPr>
              <a:t>»</a:t>
            </a:r>
            <a:endParaRPr lang="ru-RU" sz="1351" dirty="0">
              <a:solidFill>
                <a:srgbClr val="002060"/>
              </a:solidFill>
            </a:endParaRPr>
          </a:p>
          <a:p>
            <a:pPr marL="214513" indent="-214513">
              <a:buFontTx/>
              <a:buChar char="-"/>
            </a:pPr>
            <a:endParaRPr lang="ru-RU" sz="1351" dirty="0">
              <a:solidFill>
                <a:srgbClr val="002060"/>
              </a:solidFill>
            </a:endParaRPr>
          </a:p>
          <a:p>
            <a:pPr marL="214513" indent="-214513">
              <a:buFontTx/>
              <a:buChar char="-"/>
            </a:pPr>
            <a:r>
              <a:rPr lang="ru-RU" sz="1351" dirty="0" smtClean="0">
                <a:solidFill>
                  <a:srgbClr val="002060"/>
                </a:solidFill>
              </a:rPr>
              <a:t>«Атомные цитаты»</a:t>
            </a:r>
          </a:p>
          <a:p>
            <a:pPr marL="214513" indent="-214513">
              <a:buFontTx/>
              <a:buChar char="-"/>
            </a:pPr>
            <a:endParaRPr lang="ru-RU" sz="1351" dirty="0">
              <a:solidFill>
                <a:srgbClr val="002060"/>
              </a:solidFill>
            </a:endParaRPr>
          </a:p>
          <a:p>
            <a:pPr marL="214513" indent="-214513">
              <a:buFontTx/>
              <a:buChar char="-"/>
            </a:pPr>
            <a:r>
              <a:rPr lang="ru-RU" sz="1351" dirty="0">
                <a:solidFill>
                  <a:srgbClr val="002060"/>
                </a:solidFill>
              </a:rPr>
              <a:t>«Сказки о мирном атоме»</a:t>
            </a:r>
          </a:p>
          <a:p>
            <a:pPr marL="214513" indent="-214513">
              <a:buFontTx/>
              <a:buChar char="-"/>
            </a:pPr>
            <a:endParaRPr lang="ru-RU" sz="1351" dirty="0">
              <a:solidFill>
                <a:srgbClr val="002060"/>
              </a:solidFill>
            </a:endParaRPr>
          </a:p>
          <a:p>
            <a:pPr marL="214513" indent="-214513">
              <a:buFontTx/>
              <a:buChar char="-"/>
            </a:pPr>
            <a:r>
              <a:rPr lang="ru-RU" sz="1351" dirty="0">
                <a:solidFill>
                  <a:srgbClr val="002060"/>
                </a:solidFill>
              </a:rPr>
              <a:t>«Отчего бы нам не жить в мире</a:t>
            </a:r>
            <a:r>
              <a:rPr lang="ru-RU" sz="1351" dirty="0" smtClean="0">
                <a:solidFill>
                  <a:srgbClr val="002060"/>
                </a:solidFill>
              </a:rPr>
              <a:t>?»</a:t>
            </a:r>
            <a:endParaRPr lang="ru-RU" sz="1351" dirty="0">
              <a:solidFill>
                <a:srgbClr val="002060"/>
              </a:solidFill>
            </a:endParaRPr>
          </a:p>
          <a:p>
            <a:pPr marL="214513" indent="-214513">
              <a:buFontTx/>
              <a:buChar char="-"/>
            </a:pPr>
            <a:endParaRPr lang="ru-RU" sz="1351" dirty="0">
              <a:solidFill>
                <a:srgbClr val="002060"/>
              </a:solidFill>
            </a:endParaRPr>
          </a:p>
          <a:p>
            <a:pPr marL="214513" indent="-214513">
              <a:buFontTx/>
              <a:buChar char="-"/>
            </a:pPr>
            <a:r>
              <a:rPr lang="ru-RU" sz="1351" dirty="0">
                <a:solidFill>
                  <a:srgbClr val="002060"/>
                </a:solidFill>
              </a:rPr>
              <a:t> «Все к лучшему в этом лучшем из миров»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8C603695-5F4A-4C31-919E-D3D846E16609}"/>
              </a:ext>
            </a:extLst>
          </p:cNvPr>
          <p:cNvSpPr/>
          <p:nvPr/>
        </p:nvSpPr>
        <p:spPr>
          <a:xfrm>
            <a:off x="696920" y="934156"/>
            <a:ext cx="3556913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1" dirty="0">
                <a:solidFill>
                  <a:schemeClr val="accent6">
                    <a:lumMod val="75000"/>
                  </a:schemeClr>
                </a:solidFill>
              </a:rPr>
              <a:t>Темы для творчества в треке </a:t>
            </a:r>
            <a:r>
              <a:rPr lang="ru-RU" sz="1201" dirty="0" smtClean="0">
                <a:solidFill>
                  <a:schemeClr val="accent6">
                    <a:lumMod val="75000"/>
                  </a:schemeClr>
                </a:solidFill>
              </a:rPr>
              <a:t>«Летописец»: </a:t>
            </a:r>
            <a:endParaRPr lang="ru-RU" sz="120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8C603695-5F4A-4C31-919E-D3D846E16609}"/>
              </a:ext>
            </a:extLst>
          </p:cNvPr>
          <p:cNvSpPr/>
          <p:nvPr/>
        </p:nvSpPr>
        <p:spPr>
          <a:xfrm>
            <a:off x="4761681" y="922061"/>
            <a:ext cx="3346080" cy="27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1" dirty="0">
                <a:solidFill>
                  <a:schemeClr val="accent6">
                    <a:lumMod val="75000"/>
                  </a:schemeClr>
                </a:solidFill>
              </a:rPr>
              <a:t>Темы для творчества в треке «</a:t>
            </a:r>
            <a:r>
              <a:rPr lang="ru-RU" sz="1201" dirty="0" smtClean="0">
                <a:solidFill>
                  <a:schemeClr val="accent6">
                    <a:lumMod val="75000"/>
                  </a:schemeClr>
                </a:solidFill>
              </a:rPr>
              <a:t>Мир и доверие»: </a:t>
            </a:r>
            <a:endParaRPr lang="ru-RU" sz="1201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26" name="Рисунок 25" descr="cid:E3058932-B46B-4A3C-A967-882B9D4DF4D9-L0-001"/>
          <p:cNvPicPr/>
          <p:nvPr/>
        </p:nvPicPr>
        <p:blipFill>
          <a:blip r:embed="rId11" r:link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278" y="3840074"/>
            <a:ext cx="1759937" cy="119373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Рисунок 30" descr="cid:A28FBCBA-B2C9-47CD-BD6E-4412F74D54E2-L0-001"/>
          <p:cNvPicPr/>
          <p:nvPr/>
        </p:nvPicPr>
        <p:blipFill>
          <a:blip r:embed="rId13" r:link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6234" y="3840073"/>
            <a:ext cx="1760170" cy="1193730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-74550"/>
            <a:ext cx="974725" cy="860951"/>
          </a:xfrm>
          <a:prstGeom prst="rect">
            <a:avLst/>
          </a:prstGeom>
        </p:spPr>
      </p:pic>
      <p:pic>
        <p:nvPicPr>
          <p:cNvPr id="37" name="93946B4F-9258-4E66-AAE9-C9BA6426F793" descr="93946B4F-9258-4E66-AAE9-C9BA6426F79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3840073"/>
            <a:ext cx="1790595" cy="1193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4364" y="3840073"/>
            <a:ext cx="1684253" cy="1199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8517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AC9B652-E9BD-4463-9AB7-E3E55FD80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2525" y="40023"/>
            <a:ext cx="7607546" cy="367431"/>
          </a:xfrm>
        </p:spPr>
        <p:txBody>
          <a:bodyPr>
            <a:noAutofit/>
          </a:bodyPr>
          <a:lstStyle/>
          <a:p>
            <a:r>
              <a:rPr lang="ru-RU" sz="2402" dirty="0" smtClean="0"/>
              <a:t>Условия участия</a:t>
            </a:r>
            <a:endParaRPr lang="ru-RU" sz="2402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537D3130-685C-4B27-B15F-62C76C4F5C36}"/>
              </a:ext>
            </a:extLst>
          </p:cNvPr>
          <p:cNvSpPr/>
          <p:nvPr/>
        </p:nvSpPr>
        <p:spPr>
          <a:xfrm>
            <a:off x="62560" y="781900"/>
            <a:ext cx="6742402" cy="43242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50" dirty="0" smtClean="0">
                <a:solidFill>
                  <a:schemeClr val="accent6"/>
                </a:solidFill>
                <a:latin typeface="+mj-lt"/>
              </a:rPr>
              <a:t>УЧАСТНИКИ ПРОЕКТА </a:t>
            </a:r>
            <a:r>
              <a:rPr lang="ru-RU" sz="1250" dirty="0">
                <a:solidFill>
                  <a:schemeClr val="accent6"/>
                </a:solidFill>
                <a:latin typeface="+mj-lt"/>
              </a:rPr>
              <a:t>–</a:t>
            </a:r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 дети, проживающие в муниципальных образованиях присутствия действующих и строящихся АЭС России и в зарубежных городах-побратимах из Венгрии и Беларуси, а также в г. Москве (для центрального аппарата Концерна «Росэнергоатом»);</a:t>
            </a:r>
          </a:p>
          <a:p>
            <a:r>
              <a:rPr lang="ru-RU" sz="1250" dirty="0" smtClean="0">
                <a:solidFill>
                  <a:schemeClr val="accent6"/>
                </a:solidFill>
                <a:latin typeface="+mj-lt"/>
              </a:rPr>
              <a:t>ВОЗРАСТ УЧАСТНИКОВ – </a:t>
            </a:r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от 11 до 17 лет</a:t>
            </a:r>
            <a:r>
              <a:rPr lang="ru-RU" sz="1250" dirty="0" smtClean="0">
                <a:solidFill>
                  <a:schemeClr val="tx2">
                    <a:lumMod val="50000"/>
                  </a:schemeClr>
                </a:solidFill>
              </a:rPr>
              <a:t>;</a:t>
            </a:r>
          </a:p>
          <a:p>
            <a:r>
              <a:rPr lang="ru-RU" sz="1250" dirty="0" smtClean="0">
                <a:solidFill>
                  <a:schemeClr val="accent6"/>
                </a:solidFill>
                <a:latin typeface="+mj-lt"/>
              </a:rPr>
              <a:t>ТРЕБОВАНИЯ К РАБОТАМ:</a:t>
            </a:r>
          </a:p>
          <a:p>
            <a:pPr marL="285750" indent="-285750">
              <a:buFontTx/>
              <a:buChar char="-"/>
            </a:pPr>
            <a:r>
              <a:rPr lang="ru-RU" sz="1250" dirty="0" smtClean="0">
                <a:solidFill>
                  <a:schemeClr val="accent6"/>
                </a:solidFill>
                <a:latin typeface="+mj-lt"/>
              </a:rPr>
              <a:t>В номинациях «Лучший </a:t>
            </a:r>
            <a:r>
              <a:rPr lang="ru-RU" sz="1250" dirty="0">
                <a:solidFill>
                  <a:schemeClr val="accent6"/>
                </a:solidFill>
                <a:latin typeface="+mj-lt"/>
              </a:rPr>
              <a:t>рассказ…» </a:t>
            </a:r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работы объемом не более 10 страниц формата А4, напечатанные шрифтом </a:t>
            </a:r>
            <a:r>
              <a:rPr lang="ru-RU" sz="1250" dirty="0" err="1">
                <a:solidFill>
                  <a:schemeClr val="tx2">
                    <a:lumMod val="50000"/>
                  </a:schemeClr>
                </a:solidFill>
              </a:rPr>
              <a:t>Сourier</a:t>
            </a:r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1250" dirty="0" err="1">
                <a:solidFill>
                  <a:schemeClr val="tx2">
                    <a:lumMod val="50000"/>
                  </a:schemeClr>
                </a:solidFill>
              </a:rPr>
              <a:t>New</a:t>
            </a:r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, размер кегля – 12, формат – </a:t>
            </a:r>
            <a:r>
              <a:rPr lang="ru-RU" sz="1250" dirty="0" err="1">
                <a:solidFill>
                  <a:schemeClr val="tx2">
                    <a:lumMod val="50000"/>
                  </a:schemeClr>
                </a:solidFill>
              </a:rPr>
              <a:t>doc</a:t>
            </a:r>
            <a:endParaRPr lang="ru-RU" sz="125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250" dirty="0" smtClean="0">
                <a:solidFill>
                  <a:schemeClr val="accent6"/>
                </a:solidFill>
                <a:latin typeface="+mj-lt"/>
              </a:rPr>
              <a:t>В номинациях «Лучшее поэтические </a:t>
            </a:r>
            <a:r>
              <a:rPr lang="ru-RU" sz="1250" dirty="0">
                <a:solidFill>
                  <a:schemeClr val="accent6"/>
                </a:solidFill>
                <a:latin typeface="+mj-lt"/>
              </a:rPr>
              <a:t>произведение…» </a:t>
            </a:r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работы объемом не более 2 страниц формата А4, напечатанные шрифтом </a:t>
            </a:r>
            <a:r>
              <a:rPr lang="ru-RU" sz="1250" dirty="0" err="1">
                <a:solidFill>
                  <a:schemeClr val="tx2">
                    <a:lumMod val="50000"/>
                  </a:schemeClr>
                </a:solidFill>
              </a:rPr>
              <a:t>Сourier</a:t>
            </a:r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1250" dirty="0" err="1">
                <a:solidFill>
                  <a:schemeClr val="tx2">
                    <a:lumMod val="50000"/>
                  </a:schemeClr>
                </a:solidFill>
              </a:rPr>
              <a:t>New</a:t>
            </a:r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, размер кегля – 12, формат – </a:t>
            </a:r>
            <a:r>
              <a:rPr lang="ru-RU" sz="1250" dirty="0" err="1">
                <a:solidFill>
                  <a:schemeClr val="tx2">
                    <a:lumMod val="50000"/>
                  </a:schemeClr>
                </a:solidFill>
              </a:rPr>
              <a:t>doc</a:t>
            </a:r>
            <a:endParaRPr lang="ru-RU" sz="125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250" dirty="0" smtClean="0">
                <a:solidFill>
                  <a:schemeClr val="accent6"/>
                </a:solidFill>
                <a:latin typeface="+mj-lt"/>
              </a:rPr>
              <a:t>В номинациях «Лучшая </a:t>
            </a:r>
            <a:r>
              <a:rPr lang="ru-RU" sz="1250" dirty="0">
                <a:solidFill>
                  <a:schemeClr val="accent6"/>
                </a:solidFill>
                <a:latin typeface="+mj-lt"/>
              </a:rPr>
              <a:t>иллюстрация…» </a:t>
            </a:r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цветные рисованные иллюстрации размером А4. Работы необходимо отсканировать в формате JPG (разрешение – 300 точек на дюйм)</a:t>
            </a:r>
          </a:p>
          <a:p>
            <a:r>
              <a:rPr lang="ru-RU" sz="1250" dirty="0" smtClean="0">
                <a:solidFill>
                  <a:schemeClr val="accent6"/>
                </a:solidFill>
                <a:latin typeface="+mj-lt"/>
              </a:rPr>
              <a:t>К ЗАЯВКЕ ОБЯЗАТЕЛЬНО ПРИЛОЖИТЬ:</a:t>
            </a:r>
          </a:p>
          <a:p>
            <a:pPr marL="285750" indent="-285750">
              <a:buFontTx/>
              <a:buChar char="-"/>
            </a:pPr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таблицу с краткой информацией о себе (см. приложение 1 к Положению); </a:t>
            </a:r>
          </a:p>
          <a:p>
            <a:pPr marL="285750" indent="-285750">
              <a:buFontTx/>
              <a:buChar char="-"/>
            </a:pPr>
            <a:r>
              <a:rPr lang="ru-RU" sz="1250" dirty="0" err="1">
                <a:solidFill>
                  <a:schemeClr val="tx2">
                    <a:lumMod val="50000"/>
                  </a:schemeClr>
                </a:solidFill>
              </a:rPr>
              <a:t>видеоприветствие</a:t>
            </a:r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, в котором нужно рассказать о себе.</a:t>
            </a:r>
          </a:p>
          <a:p>
            <a:endParaRPr lang="ru-RU" sz="1250" dirty="0">
              <a:solidFill>
                <a:schemeClr val="accent6"/>
              </a:solidFill>
              <a:latin typeface="+mj-lt"/>
            </a:endParaRPr>
          </a:p>
          <a:p>
            <a:r>
              <a:rPr lang="ru-RU" sz="1250" b="1" dirty="0">
                <a:solidFill>
                  <a:schemeClr val="tx2">
                    <a:lumMod val="50000"/>
                  </a:schemeClr>
                </a:solidFill>
              </a:rPr>
              <a:t>Работы принимаются по электронной почте </a:t>
            </a:r>
            <a:r>
              <a:rPr lang="ru-RU" sz="1250" b="1" dirty="0" smtClean="0">
                <a:solidFill>
                  <a:schemeClr val="tx2">
                    <a:lumMod val="50000"/>
                  </a:schemeClr>
                </a:solidFill>
              </a:rPr>
              <a:t>конкурса: </a:t>
            </a:r>
            <a:r>
              <a:rPr lang="en-US" sz="1250" b="1" u="sng" dirty="0" smtClean="0">
                <a:solidFill>
                  <a:srgbClr val="0070C0"/>
                </a:solidFill>
              </a:rPr>
              <a:t>pegasikatom@mail.ru</a:t>
            </a:r>
            <a:endParaRPr lang="en-US" sz="1250" b="1" u="sng" dirty="0">
              <a:solidFill>
                <a:srgbClr val="0070C0"/>
              </a:solidFill>
            </a:endParaRPr>
          </a:p>
          <a:p>
            <a:endParaRPr lang="ru-RU" sz="1250" b="1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Один участник может присылать работы как для одной номинации, так и для всех номинаций конкурса, предоставив </a:t>
            </a:r>
            <a:r>
              <a:rPr lang="ru-RU" sz="1250" b="1" dirty="0">
                <a:solidFill>
                  <a:schemeClr val="tx2">
                    <a:lumMod val="50000"/>
                  </a:schemeClr>
                </a:solidFill>
              </a:rPr>
              <a:t>не более одной работы </a:t>
            </a:r>
            <a:r>
              <a:rPr lang="ru-RU" sz="1250" dirty="0">
                <a:solidFill>
                  <a:schemeClr val="tx2">
                    <a:lumMod val="50000"/>
                  </a:schemeClr>
                </a:solidFill>
              </a:rPr>
              <a:t>в каждой из </a:t>
            </a:r>
            <a:r>
              <a:rPr lang="ru-RU" sz="1250" dirty="0" smtClean="0">
                <a:solidFill>
                  <a:schemeClr val="tx2">
                    <a:lumMod val="50000"/>
                  </a:schemeClr>
                </a:solidFill>
              </a:rPr>
              <a:t>номинаций.</a:t>
            </a:r>
          </a:p>
          <a:p>
            <a:endParaRPr lang="ru-RU" sz="1250" b="1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sz="1250" b="1" dirty="0" smtClean="0">
                <a:solidFill>
                  <a:schemeClr val="tx2">
                    <a:lumMod val="50000"/>
                  </a:schemeClr>
                </a:solidFill>
              </a:rPr>
              <a:t>Участники</a:t>
            </a:r>
            <a:r>
              <a:rPr lang="ru-RU" sz="1250" b="1" dirty="0">
                <a:solidFill>
                  <a:schemeClr val="tx2">
                    <a:lumMod val="50000"/>
                  </a:schemeClr>
                </a:solidFill>
              </a:rPr>
              <a:t>, которые </a:t>
            </a:r>
            <a:r>
              <a:rPr lang="ru-RU" sz="1250" b="1" u="sng" dirty="0">
                <a:solidFill>
                  <a:schemeClr val="tx2">
                    <a:lumMod val="50000"/>
                  </a:schemeClr>
                </a:solidFill>
              </a:rPr>
              <a:t>не пришлют </a:t>
            </a:r>
            <a:r>
              <a:rPr lang="ru-RU" sz="1250" b="1" dirty="0">
                <a:solidFill>
                  <a:schemeClr val="tx2">
                    <a:lumMod val="50000"/>
                  </a:schemeClr>
                </a:solidFill>
              </a:rPr>
              <a:t>всю необходимую информацию, к конкурсу не допускаются.</a:t>
            </a:r>
          </a:p>
          <a:p>
            <a:endParaRPr lang="ru-RU" sz="125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48" y="781900"/>
            <a:ext cx="1587571" cy="1635103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74550"/>
            <a:ext cx="974725" cy="86095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160" y="3905213"/>
            <a:ext cx="1881191" cy="1254412"/>
          </a:xfrm>
          <a:prstGeom prst="rect">
            <a:avLst/>
          </a:prstGeom>
        </p:spPr>
      </p:pic>
      <p:pic>
        <p:nvPicPr>
          <p:cNvPr id="22" name="Picture 2" descr="https://downloader.disk.yandex.ru/preview/f9bdf69bccd3665e347ce4a9c2b58074a7b45c164a431b3f81e66057c7f0a2bb/5e49bf18/xB2zH7r-Uta9i7weiGUcQ9wU4S8bvwZlH42fCUAM22FqT1dllWfnketsTKckC3Slnplu33yMQjI4rAGmkGrNPg==?uid=0&amp;filename=0I2A4783.jpg&amp;disposition=inline&amp;hash=&amp;limit=0&amp;content_type=image%2Fjpeg&amp;tknv=v2&amp;owner_uid=591150142&amp;size=1351x576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5" r="5632"/>
          <a:stretch/>
        </p:blipFill>
        <p:spPr bwMode="auto">
          <a:xfrm>
            <a:off x="6949160" y="2490179"/>
            <a:ext cx="1875149" cy="1359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555046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AC9B652-E9BD-4463-9AB7-E3E55FD80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115" y="36698"/>
            <a:ext cx="8342434" cy="367431"/>
          </a:xfrm>
        </p:spPr>
        <p:txBody>
          <a:bodyPr>
            <a:noAutofit/>
          </a:bodyPr>
          <a:lstStyle/>
          <a:p>
            <a:r>
              <a:rPr lang="ru-RU" sz="2402" smtClean="0"/>
              <a:t>Сроки проведения проекта 2020</a:t>
            </a:r>
            <a:endParaRPr lang="ru-RU" sz="2402" dirty="0"/>
          </a:p>
        </p:txBody>
      </p:sp>
      <p:pic>
        <p:nvPicPr>
          <p:cNvPr id="42" name="Рисунок 41" descr="Ежедневник">
            <a:extLst>
              <a:ext uri="{FF2B5EF4-FFF2-40B4-BE49-F238E27FC236}">
                <a16:creationId xmlns="" xmlns:a16="http://schemas.microsoft.com/office/drawing/2014/main" id="{834214F2-7375-4D22-9F66-6E7B36DAA25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360002" y="-16198"/>
            <a:ext cx="632499" cy="632499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-130424"/>
            <a:ext cx="822192" cy="726222"/>
          </a:xfrm>
          <a:prstGeom prst="rect">
            <a:avLst/>
          </a:prstGeom>
        </p:spPr>
      </p:pic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189932"/>
              </p:ext>
            </p:extLst>
          </p:nvPr>
        </p:nvGraphicFramePr>
        <p:xfrm>
          <a:off x="207469" y="704103"/>
          <a:ext cx="8844322" cy="4320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4978"/>
                <a:gridCol w="5609344"/>
              </a:tblGrid>
              <a:tr h="24570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+mj-lt"/>
                        </a:rPr>
                        <a:t>ДАТА</a:t>
                      </a:r>
                      <a:endParaRPr lang="ru-RU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+mj-lt"/>
                        </a:rPr>
                        <a:t>СОБЫТИЕ</a:t>
                      </a:r>
                      <a:endParaRPr lang="ru-RU" dirty="0">
                        <a:latin typeface="+mj-lt"/>
                      </a:endParaRPr>
                    </a:p>
                  </a:txBody>
                  <a:tcPr/>
                </a:tc>
              </a:tr>
              <a:tr h="254560">
                <a:tc rowSpan="2">
                  <a:txBody>
                    <a:bodyPr/>
                    <a:lstStyle/>
                    <a:p>
                      <a:pPr algn="ctr"/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 января – 30 апреля 2021 г.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dirty="0" smtClean="0">
                          <a:latin typeface="+mn-lt"/>
                        </a:rPr>
                        <a:t>Прем конкурсных работ</a:t>
                      </a:r>
                      <a:endParaRPr lang="ru-RU" sz="1250" dirty="0">
                        <a:latin typeface="+mn-lt"/>
                      </a:endParaRPr>
                    </a:p>
                  </a:txBody>
                  <a:tcPr/>
                </a:tc>
              </a:tr>
              <a:tr h="3982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Литературная онлайн-школа, базовый курс обучения «Основы литературного мастерства», занятия преподавателей в городах 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66472">
                <a:tc>
                  <a:txBody>
                    <a:bodyPr/>
                    <a:lstStyle/>
                    <a:p>
                      <a:pPr algn="ctr"/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 – 15 мая 2021 г.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одведение итогов всех номинаций конкурса</a:t>
                      </a:r>
                    </a:p>
                  </a:txBody>
                  <a:tcPr/>
                </a:tc>
              </a:tr>
              <a:tr h="421864">
                <a:tc>
                  <a:txBody>
                    <a:bodyPr/>
                    <a:lstStyle/>
                    <a:p>
                      <a:pPr algn="ctr"/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ай 2021 г. </a:t>
                      </a:r>
                    </a:p>
                    <a:p>
                      <a:pPr algn="ctr"/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а школьных линейках «Последний звонок»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Объявление победителей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63794">
                <a:tc>
                  <a:txBody>
                    <a:bodyPr/>
                    <a:lstStyle/>
                    <a:p>
                      <a:pPr algn="ctr"/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7 – 30 августа 2021 г.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Работа «Литературной смены»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69707">
                <a:tc rowSpan="3">
                  <a:txBody>
                    <a:bodyPr/>
                    <a:lstStyle/>
                    <a:p>
                      <a:pPr algn="ctr"/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9 августа 2021 г.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емьерный показ спектакля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697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емьерный показ видеофильма о конкурсе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697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аграждение победителей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15542">
                <a:tc>
                  <a:txBody>
                    <a:bodyPr/>
                    <a:lstStyle/>
                    <a:p>
                      <a:pPr algn="ctr"/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 сентября 2021 г.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а школьных линейках «Первый звонок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Награждение школ, принявших наиболее активное участие в конкурсе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69707">
                <a:tc>
                  <a:txBody>
                    <a:bodyPr/>
                    <a:lstStyle/>
                    <a:p>
                      <a:pPr algn="ctr"/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сентябрь 2021 г.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остановка спектакля на сцене московского театра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69706">
                <a:tc rowSpan="2">
                  <a:txBody>
                    <a:bodyPr/>
                    <a:lstStyle/>
                    <a:p>
                      <a:pPr algn="ctr"/>
                      <a:r>
                        <a:rPr lang="en-US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V </a:t>
                      </a:r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квартал 2021 г.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Гастроли спектакля по городам-участникам Конкурса 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50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Издание книги с произведениями победителей </a:t>
                      </a:r>
                      <a:endParaRPr lang="ru-RU" sz="1250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366912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7EE8EA5-A969-43D2-AA70-A177872D8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9458" y="330216"/>
            <a:ext cx="8342434" cy="367431"/>
          </a:xfrm>
        </p:spPr>
        <p:txBody>
          <a:bodyPr>
            <a:noAutofit/>
          </a:bodyPr>
          <a:lstStyle/>
          <a:p>
            <a:r>
              <a:rPr lang="ru-RU" sz="2402" dirty="0" smtClean="0"/>
              <a:t>Важная информация о конкурсе</a:t>
            </a:r>
            <a:endParaRPr lang="ru-RU" sz="2402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E4952B49-66D7-432F-8044-1FF0E9C6EF37}"/>
              </a:ext>
            </a:extLst>
          </p:cNvPr>
          <p:cNvSpPr/>
          <p:nvPr/>
        </p:nvSpPr>
        <p:spPr>
          <a:xfrm>
            <a:off x="145322" y="3669973"/>
            <a:ext cx="4173405" cy="16244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2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Цыганова Юлия </a:t>
            </a:r>
            <a:r>
              <a:rPr lang="ru-RU" sz="1802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Сергеевна</a:t>
            </a:r>
          </a:p>
          <a:p>
            <a:r>
              <a:rPr lang="ru-RU" sz="1250" b="1" dirty="0">
                <a:solidFill>
                  <a:schemeClr val="accent6"/>
                </a:solidFill>
                <a:latin typeface="+mj-lt"/>
              </a:rPr>
              <a:t>Автор проекта,  член Союза журналистов России</a:t>
            </a:r>
          </a:p>
          <a:p>
            <a:pPr algn="ctr"/>
            <a:endParaRPr lang="ru-RU" sz="1351" dirty="0" smtClean="0">
              <a:solidFill>
                <a:srgbClr val="002060"/>
              </a:solidFill>
            </a:endParaRPr>
          </a:p>
          <a:p>
            <a:endParaRPr lang="ru-RU" sz="1351" dirty="0" smtClean="0">
              <a:solidFill>
                <a:srgbClr val="002060"/>
              </a:solidFill>
            </a:endParaRPr>
          </a:p>
          <a:p>
            <a:r>
              <a:rPr lang="en-US" sz="1351" dirty="0" smtClean="0">
                <a:solidFill>
                  <a:srgbClr val="002060"/>
                </a:solidFill>
              </a:rPr>
              <a:t>89253912923@mail.ru</a:t>
            </a:r>
            <a:endParaRPr lang="en-US" sz="1351" dirty="0">
              <a:solidFill>
                <a:srgbClr val="002060"/>
              </a:solidFill>
            </a:endParaRPr>
          </a:p>
          <a:p>
            <a:r>
              <a:rPr lang="ru-RU" sz="1351" dirty="0">
                <a:solidFill>
                  <a:srgbClr val="002060"/>
                </a:solidFill>
              </a:rPr>
              <a:t>тел: +7 (925) 391 29 23 </a:t>
            </a:r>
          </a:p>
          <a:p>
            <a:pPr algn="ctr"/>
            <a:endParaRPr lang="ru-RU" sz="1501" dirty="0">
              <a:solidFill>
                <a:srgbClr val="00B050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A526969A-9FCD-4E51-AFF5-4AD382BC9744}"/>
              </a:ext>
            </a:extLst>
          </p:cNvPr>
          <p:cNvSpPr/>
          <p:nvPr/>
        </p:nvSpPr>
        <p:spPr>
          <a:xfrm>
            <a:off x="4318727" y="3669973"/>
            <a:ext cx="4940834" cy="1593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2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Титова Наталья </a:t>
            </a:r>
            <a:r>
              <a:rPr lang="ru-RU" sz="1802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Васильевна</a:t>
            </a:r>
          </a:p>
          <a:p>
            <a:r>
              <a:rPr lang="ru-RU" sz="1200" b="1" dirty="0">
                <a:solidFill>
                  <a:schemeClr val="accent6"/>
                </a:solidFill>
                <a:latin typeface="+mj-lt"/>
              </a:rPr>
              <a:t>Главный эксперт Департамента по работе с регионами и органами государственной власти АО «Концерн Росэнергоатом»</a:t>
            </a:r>
          </a:p>
          <a:p>
            <a:endParaRPr lang="ru-RU" sz="1351" dirty="0" smtClean="0">
              <a:solidFill>
                <a:srgbClr val="002060"/>
              </a:solidFill>
            </a:endParaRPr>
          </a:p>
          <a:p>
            <a:r>
              <a:rPr lang="ru-RU" sz="1351" dirty="0" smtClean="0">
                <a:solidFill>
                  <a:srgbClr val="002060"/>
                </a:solidFill>
              </a:rPr>
              <a:t>titova-nv@rosenergoatom.ru</a:t>
            </a:r>
            <a:endParaRPr lang="ru-RU" sz="1351" dirty="0">
              <a:solidFill>
                <a:srgbClr val="002060"/>
              </a:solidFill>
            </a:endParaRPr>
          </a:p>
          <a:p>
            <a:r>
              <a:rPr lang="ru-RU" sz="1351" dirty="0">
                <a:solidFill>
                  <a:srgbClr val="002060"/>
                </a:solidFill>
              </a:rPr>
              <a:t>тел: +7 (906) 077 51 66</a:t>
            </a:r>
          </a:p>
          <a:p>
            <a:pPr algn="ctr"/>
            <a:endParaRPr lang="ru-RU" sz="1501" dirty="0">
              <a:solidFill>
                <a:srgbClr val="00B050"/>
              </a:solidFill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90" y="-1161"/>
            <a:ext cx="822192" cy="726222"/>
          </a:xfrm>
          <a:prstGeom prst="rect">
            <a:avLst/>
          </a:prstGeom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7734154"/>
              </p:ext>
            </p:extLst>
          </p:nvPr>
        </p:nvGraphicFramePr>
        <p:xfrm>
          <a:off x="155575" y="3126105"/>
          <a:ext cx="8658012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58012"/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Координаторы проекта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0382032"/>
              </p:ext>
            </p:extLst>
          </p:nvPr>
        </p:nvGraphicFramePr>
        <p:xfrm>
          <a:off x="605597" y="1005519"/>
          <a:ext cx="5645977" cy="17003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45977"/>
              </a:tblGrid>
              <a:tr h="92141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800" kern="1200" dirty="0" smtClean="0">
                          <a:solidFill>
                            <a:schemeClr val="accent6"/>
                          </a:solidFill>
                          <a:latin typeface="+mj-lt"/>
                          <a:ea typeface="+mn-ea"/>
                          <a:cs typeface="+mn-cs"/>
                        </a:rPr>
                        <a:t>30 декабря 2020 г</a:t>
                      </a:r>
                      <a:r>
                        <a:rPr lang="ru-RU" sz="1600" kern="1200" dirty="0" smtClean="0">
                          <a:solidFill>
                            <a:schemeClr val="accent6"/>
                          </a:solidFill>
                          <a:latin typeface="+mj-lt"/>
                          <a:ea typeface="+mn-ea"/>
                          <a:cs typeface="+mn-cs"/>
                        </a:rPr>
                        <a:t>. </a:t>
                      </a:r>
                      <a:r>
                        <a:rPr lang="ru-RU" sz="1600" b="1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во всех городах-участниках конкурса должны быть определены ответственные за проведение конкурса.</a:t>
                      </a:r>
                      <a:endParaRPr lang="ru-RU" sz="1600" b="1" kern="12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78933">
                <a:tc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accent6"/>
                          </a:solidFill>
                          <a:latin typeface="+mj-lt"/>
                          <a:ea typeface="+mn-ea"/>
                          <a:cs typeface="+mn-cs"/>
                        </a:rPr>
                        <a:t>Информация</a:t>
                      </a:r>
                      <a:r>
                        <a:rPr lang="ru-RU" sz="1400" dirty="0" smtClean="0">
                          <a:solidFill>
                            <a:srgbClr val="3A1953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о конкурсе размещена на официальном сайте Фонда «АТР АЭС»</a:t>
                      </a:r>
                      <a:r>
                        <a:rPr lang="ru-RU" sz="1250" b="1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u="sng" dirty="0" smtClean="0">
                          <a:latin typeface="+mj-lt"/>
                          <a:cs typeface="Arial" panose="020B0604020202020204" pitchFamily="34" charset="0"/>
                          <a:hlinkClick r:id="rId3"/>
                        </a:rPr>
                        <a:t>https://anppt.ru/</a:t>
                      </a:r>
                      <a:endParaRPr lang="ru-RU" sz="130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888" y="258291"/>
            <a:ext cx="1619250" cy="278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9158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0"/>
            <a:ext cx="1968293" cy="1738545"/>
          </a:xfrm>
          <a:prstGeom prst="rect">
            <a:avLst/>
          </a:prstGeom>
        </p:spPr>
      </p:pic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1454149" y="1567815"/>
            <a:ext cx="4860925" cy="1274082"/>
          </a:xfrm>
        </p:spPr>
        <p:txBody>
          <a:bodyPr/>
          <a:lstStyle/>
          <a:p>
            <a:pPr algn="ctr"/>
            <a:endParaRPr lang="ru-RU" dirty="0" smtClean="0"/>
          </a:p>
          <a:p>
            <a:pPr algn="ctr"/>
            <a:r>
              <a:rPr lang="ru-RU" dirty="0" smtClean="0"/>
              <a:t>Удачи!</a:t>
            </a:r>
            <a:endParaRPr lang="ru-RU" dirty="0"/>
          </a:p>
        </p:txBody>
      </p:sp>
      <p:pic>
        <p:nvPicPr>
          <p:cNvPr id="4" name="Picture 8" descr="https://downloader.disk.yandex.ru/preview/b79687a020dee4e358fb03ed71800d6623d0c0006a8889d6e8ff46fcea259fc0/5e49c04e/6YhnCkvXKKLg1Kvyr1EAYZTeXiiuDk9Qkojs8dJRk07vuMGCV5jvMgtUNYkn__IEjqwhu_i_fLvDasSVhybmxA==?uid=0&amp;filename=0I2A6509.jpg&amp;disposition=inline&amp;hash=&amp;limit=0&amp;content_type=image%2Fjpeg&amp;tknv=v2&amp;owner_uid=591150142&amp;size=1351x57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244" y="3087952"/>
            <a:ext cx="1984212" cy="132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https://downloader.disk.yandex.ru/preview/f2f09ae75d87acf738940e045fd3697a8faacc9eac360361e60f619a1bb66b81/5e49bf1f/QYxnnNyHdivUG9YueHQq_LbKs_gBOd5zQ2e2l6yuTPG1WyXkbbVkkOMj0YoomN6wTztyY0o81BXsWb6307S6Mw==?uid=0&amp;filename=0I2A5129+%282%29.jpg&amp;disposition=inline&amp;hash=&amp;limit=0&amp;content_type=image%2Fjpeg&amp;tknv=v2&amp;owner_uid=591150142&amp;size=1351x576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93"/>
          <a:stretch/>
        </p:blipFill>
        <p:spPr bwMode="auto">
          <a:xfrm>
            <a:off x="2898971" y="3087952"/>
            <a:ext cx="1545833" cy="132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3616" y="3087952"/>
            <a:ext cx="1986024" cy="1322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43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heme/theme1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541B8C7B-4633-2E45-B746-A05B8E1543F8}"/>
    </a:ext>
  </a:extLst>
</a:theme>
</file>

<file path=ppt/theme/theme10.xml><?xml version="1.0" encoding="utf-8"?>
<a:theme xmlns:a="http://schemas.openxmlformats.org/drawingml/2006/main" name="2_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71E6C09B-1356-454C-B33D-85A54AADC182}"/>
    </a:ext>
  </a:extLst>
</a:theme>
</file>

<file path=ppt/theme/theme11.xml><?xml version="1.0" encoding="utf-8"?>
<a:theme xmlns:a="http://schemas.openxmlformats.org/drawingml/2006/main" name="3_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71E6C09B-1356-454C-B33D-85A54AADC182}"/>
    </a:ext>
  </a:extLst>
</a:theme>
</file>

<file path=ppt/theme/theme12.xml><?xml version="1.0" encoding="utf-8"?>
<a:theme xmlns:a="http://schemas.openxmlformats.org/drawingml/2006/main" name="4_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71E6C09B-1356-454C-B33D-85A54AADC182}"/>
    </a:ext>
  </a:extLst>
</a:theme>
</file>

<file path=ppt/theme/theme13.xml><?xml version="1.0" encoding="utf-8"?>
<a:theme xmlns:a="http://schemas.openxmlformats.org/drawingml/2006/main" name="5_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71E6C09B-1356-454C-B33D-85A54AADC182}"/>
    </a:ext>
  </a:extLst>
</a:theme>
</file>

<file path=ppt/theme/theme14.xml><?xml version="1.0" encoding="utf-8"?>
<a:theme xmlns:a="http://schemas.openxmlformats.org/drawingml/2006/main" name="6_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71E6C09B-1356-454C-B33D-85A54AADC182}"/>
    </a:ext>
  </a:extLst>
</a:theme>
</file>

<file path=ppt/theme/theme15.xml><?xml version="1.0" encoding="utf-8"?>
<a:theme xmlns:a="http://schemas.openxmlformats.org/drawingml/2006/main" name="7_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71E6C09B-1356-454C-B33D-85A54AADC182}"/>
    </a:ext>
  </a:extLst>
</a:theme>
</file>

<file path=ppt/theme/theme16.xml><?xml version="1.0" encoding="utf-8"?>
<a:theme xmlns:a="http://schemas.openxmlformats.org/drawingml/2006/main" name="8_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71E6C09B-1356-454C-B33D-85A54AADC182}"/>
    </a:ext>
  </a:extLst>
</a:theme>
</file>

<file path=ppt/theme/theme1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6BE6B458-93C6-814D-A81B-47849E6A55A1}"/>
    </a:ext>
  </a:extLst>
</a:theme>
</file>

<file path=ppt/theme/theme3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7389C019-FE70-D24D-871A-DAD941594136}"/>
    </a:ext>
  </a:extLst>
</a:theme>
</file>

<file path=ppt/theme/theme4.xml><?xml version="1.0" encoding="utf-8"?>
<a:theme xmlns:a="http://schemas.openxmlformats.org/drawingml/2006/main" name="Текст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7389C019-FE70-D24D-871A-DAD941594136}"/>
    </a:ext>
  </a:extLst>
</a:theme>
</file>

<file path=ppt/theme/theme5.xml><?xml version="1.0" encoding="utf-8"?>
<a:theme xmlns:a="http://schemas.openxmlformats.org/drawingml/2006/main" name="Диаграммы">
  <a:themeElements>
    <a:clrScheme name="тема для слайдов с диаграммами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7389C019-FE70-D24D-871A-DAD941594136}"/>
    </a:ext>
  </a:extLst>
</a:theme>
</file>

<file path=ppt/theme/theme6.xml><?xml version="1.0" encoding="utf-8"?>
<a:theme xmlns:a="http://schemas.openxmlformats.org/drawingml/2006/main" name="Текст диаграмма">
  <a:themeElements>
    <a:clrScheme name="тема для слайдов текст-диаграмма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EBA444"/>
      </a:accent1>
      <a:accent2>
        <a:srgbClr val="F06942"/>
      </a:accent2>
      <a:accent3>
        <a:srgbClr val="AD5483"/>
      </a:accent3>
      <a:accent4>
        <a:srgbClr val="456EA9"/>
      </a:accent4>
      <a:accent5>
        <a:srgbClr val="68B0E0"/>
      </a:accent5>
      <a:accent6>
        <a:srgbClr val="259789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_16x9_white_template" id="{815E4B3B-8E01-5242-B9F1-F7029D6381FB}" vid="{7389C019-FE70-D24D-871A-DAD941594136}"/>
    </a:ext>
  </a:extLst>
</a:theme>
</file>

<file path=ppt/theme/theme7.xml><?xml version="1.0" encoding="utf-8"?>
<a:theme xmlns:a="http://schemas.openxmlformats.org/drawingml/2006/main" name="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2" id="{00DAE905-2894-9645-87E8-4A089C61D1E7}" vid="{BB001172-481D-5B4F-A54A-4F845D4C8301}"/>
    </a:ext>
  </a:extLst>
</a:theme>
</file>

<file path=ppt/theme/theme8.xml><?xml version="1.0" encoding="utf-8"?>
<a:theme xmlns:a="http://schemas.openxmlformats.org/drawingml/2006/main" name="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71E6C09B-1356-454C-B33D-85A54AADC182}"/>
    </a:ext>
  </a:extLst>
</a:theme>
</file>

<file path=ppt/theme/theme9.xml><?xml version="1.0" encoding="utf-8"?>
<a:theme xmlns:a="http://schemas.openxmlformats.org/drawingml/2006/main" name="1_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71E6C09B-1356-454C-B33D-85A54AADC18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x9_white_template</Template>
  <TotalTime>1221</TotalTime>
  <Words>913</Words>
  <Application>Microsoft Office PowerPoint</Application>
  <PresentationFormat>Произвольный</PresentationFormat>
  <Paragraphs>132</Paragraphs>
  <Slides>9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6</vt:i4>
      </vt:variant>
      <vt:variant>
        <vt:lpstr>Заголовки слайдов</vt:lpstr>
      </vt:variant>
      <vt:variant>
        <vt:i4>9</vt:i4>
      </vt:variant>
    </vt:vector>
  </HeadingPairs>
  <TitlesOfParts>
    <vt:vector size="25" baseType="lpstr">
      <vt:lpstr>Титульный слайд</vt:lpstr>
      <vt:lpstr>Перебивочный слайд</vt:lpstr>
      <vt:lpstr>Текст картинка</vt:lpstr>
      <vt:lpstr>Текст</vt:lpstr>
      <vt:lpstr>Диаграммы</vt:lpstr>
      <vt:lpstr>Текст диаграмма</vt:lpstr>
      <vt:lpstr>Заключительный слайд</vt:lpstr>
      <vt:lpstr>for_preza</vt:lpstr>
      <vt:lpstr>1_for_preza</vt:lpstr>
      <vt:lpstr>2_for_preza</vt:lpstr>
      <vt:lpstr>3_for_preza</vt:lpstr>
      <vt:lpstr>4_for_preza</vt:lpstr>
      <vt:lpstr>5_for_preza</vt:lpstr>
      <vt:lpstr>6_for_preza</vt:lpstr>
      <vt:lpstr>7_for_preza</vt:lpstr>
      <vt:lpstr>8_for_preza</vt:lpstr>
      <vt:lpstr>III Международный конкурс «Атомный Пегасик»</vt:lpstr>
      <vt:lpstr>О конкурсе</vt:lpstr>
      <vt:lpstr>О конкурсе</vt:lpstr>
      <vt:lpstr>Номинации конкурса</vt:lpstr>
      <vt:lpstr>Темы для творчества в номинациях</vt:lpstr>
      <vt:lpstr>Условия участия</vt:lpstr>
      <vt:lpstr>Сроки проведения проекта 2020</vt:lpstr>
      <vt:lpstr>Важная информация о конкурсе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Хомякова</dc:creator>
  <cp:lastModifiedBy>User</cp:lastModifiedBy>
  <cp:revision>230</cp:revision>
  <dcterms:created xsi:type="dcterms:W3CDTF">2019-09-24T12:37:05Z</dcterms:created>
  <dcterms:modified xsi:type="dcterms:W3CDTF">2020-12-23T18:52:23Z</dcterms:modified>
</cp:coreProperties>
</file>